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1"/>
  </p:sldMasterIdLst>
  <p:notesMasterIdLst>
    <p:notesMasterId r:id="rId9"/>
  </p:notesMasterIdLst>
  <p:handoutMasterIdLst>
    <p:handoutMasterId r:id="rId10"/>
  </p:handoutMasterIdLst>
  <p:sldIdLst>
    <p:sldId id="338" r:id="rId2"/>
    <p:sldId id="358" r:id="rId3"/>
    <p:sldId id="361" r:id="rId4"/>
    <p:sldId id="364" r:id="rId5"/>
    <p:sldId id="362" r:id="rId6"/>
    <p:sldId id="363" r:id="rId7"/>
    <p:sldId id="360" r:id="rId8"/>
  </p:sldIdLst>
  <p:sldSz cx="9144000" cy="6858000" type="screen4x3"/>
  <p:notesSz cx="6724650" cy="9774238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2F25FD1-3B30-4CF2-9860-C6AFCCE88DFD}">
          <p14:sldIdLst>
            <p14:sldId id="338"/>
            <p14:sldId id="358"/>
            <p14:sldId id="361"/>
            <p14:sldId id="364"/>
            <p14:sldId id="362"/>
            <p14:sldId id="363"/>
            <p14:sldId id="36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38792"/>
    <a:srgbClr val="000000"/>
    <a:srgbClr val="75AD40"/>
    <a:srgbClr val="1C5394"/>
    <a:srgbClr val="B7C4CB"/>
    <a:srgbClr val="D3DBDF"/>
    <a:srgbClr val="FF9900"/>
    <a:srgbClr val="909B9E"/>
    <a:srgbClr val="FF0000"/>
    <a:srgbClr val="4852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19" autoAdjust="0"/>
    <p:restoredTop sz="94643" autoAdjust="0"/>
  </p:normalViewPr>
  <p:slideViewPr>
    <p:cSldViewPr snapToGrid="0" snapToObjects="1">
      <p:cViewPr varScale="1">
        <p:scale>
          <a:sx n="87" d="100"/>
          <a:sy n="87" d="100"/>
        </p:scale>
        <p:origin x="-1488" y="-84"/>
      </p:cViewPr>
      <p:guideLst>
        <p:guide orient="horz" pos="130"/>
        <p:guide orient="horz" pos="460"/>
        <p:guide orient="horz" pos="1072"/>
        <p:guide orient="horz" pos="4179"/>
        <p:guide orient="horz" pos="3930"/>
        <p:guide pos="5538"/>
        <p:guide pos="221"/>
        <p:guide pos="2029"/>
        <p:guide pos="3736"/>
        <p:guide pos="1927"/>
        <p:guide pos="3838"/>
        <p:guide/>
        <p:guide pos="2829"/>
        <p:guide pos="293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19" d="100"/>
          <a:sy n="119" d="100"/>
        </p:scale>
        <p:origin x="-5118" y="-96"/>
      </p:cViewPr>
      <p:guideLst>
        <p:guide orient="horz" pos="3079"/>
        <p:guide pos="211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r">
              <a:defRPr sz="1200"/>
            </a:lvl1pPr>
          </a:lstStyle>
          <a:p>
            <a:fld id="{EF476CCE-F25D-344B-B116-2417C2BF9756}" type="datetimeFigureOut">
              <a:rPr lang="de-DE" smtClean="0"/>
              <a:t>13.07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283829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09079" y="9283829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r">
              <a:defRPr sz="1200"/>
            </a:lvl1pPr>
          </a:lstStyle>
          <a:p>
            <a:fld id="{223836BD-AF42-9148-9440-D635513DD3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422020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r">
              <a:defRPr sz="1200"/>
            </a:lvl1pPr>
          </a:lstStyle>
          <a:p>
            <a:fld id="{B7E12A29-B6E6-0540-A937-F00BD4D7C171}" type="datetimeFigureOut">
              <a:rPr lang="de-DE" smtClean="0"/>
              <a:t>13.07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33425"/>
            <a:ext cx="4886325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61" tIns="45930" rIns="91861" bIns="4593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2465" y="4642763"/>
            <a:ext cx="5379720" cy="4398407"/>
          </a:xfrm>
          <a:prstGeom prst="rect">
            <a:avLst/>
          </a:prstGeom>
        </p:spPr>
        <p:txBody>
          <a:bodyPr vert="horz" lIns="91861" tIns="45930" rIns="91861" bIns="4593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283829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09079" y="9283829"/>
            <a:ext cx="2914015" cy="488712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r">
              <a:defRPr sz="1200"/>
            </a:lvl1pPr>
          </a:lstStyle>
          <a:p>
            <a:fld id="{E7247A7E-DA71-F746-A9AB-E6198F9994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29756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247A7E-DA71-F746-A9AB-E6198F99948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48046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DE7EB-B5F3-4612-BB99-D687F0439F0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0760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DE7EB-B5F3-4612-BB99-D687F0439F0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07601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DE7EB-B5F3-4612-BB99-D687F0439F0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07601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DE7EB-B5F3-4612-BB99-D687F0439F0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07601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247A7E-DA71-F746-A9AB-E6198F999487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8628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_mit_Vertraulichkeitsverme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400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4" name="Rechteck 3"/>
          <p:cNvSpPr/>
          <p:nvPr userDrawn="1"/>
        </p:nvSpPr>
        <p:spPr>
          <a:xfrm>
            <a:off x="3174" y="-4728"/>
            <a:ext cx="9144000" cy="6874669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6653213" y="206375"/>
            <a:ext cx="2490787" cy="523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6926263" y="295276"/>
            <a:ext cx="1863725" cy="347663"/>
            <a:chOff x="6926263" y="295276"/>
            <a:chExt cx="1863725" cy="347663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>
          <a:xfrm>
            <a:off x="350837" y="1701800"/>
            <a:ext cx="8445500" cy="954087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1588" indent="0" algn="l">
              <a:defRPr sz="28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350838" y="2660623"/>
            <a:ext cx="8445500" cy="642965"/>
          </a:xfrm>
        </p:spPr>
        <p:txBody>
          <a:bodyPr lIns="0" rIns="0" anchor="t" anchorCtr="0">
            <a:normAutofit/>
          </a:bodyPr>
          <a:lstStyle>
            <a:lvl1pPr marL="1588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8" name="AutoShape 30"/>
          <p:cNvSpPr>
            <a:spLocks noChangeAspect="1" noChangeArrowheads="1" noTextEdit="1"/>
          </p:cNvSpPr>
          <p:nvPr userDrawn="1"/>
        </p:nvSpPr>
        <p:spPr bwMode="auto">
          <a:xfrm>
            <a:off x="3175" y="4421188"/>
            <a:ext cx="72009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 useBgFill="1">
        <p:nvSpPr>
          <p:cNvPr id="10" name="Rectangle 33"/>
          <p:cNvSpPr>
            <a:spLocks noChangeArrowheads="1"/>
          </p:cNvSpPr>
          <p:nvPr userDrawn="1"/>
        </p:nvSpPr>
        <p:spPr bwMode="auto">
          <a:xfrm>
            <a:off x="3174" y="5911777"/>
            <a:ext cx="4817181" cy="553297"/>
          </a:xfrm>
          <a:prstGeom prst="rect">
            <a:avLst/>
          </a:prstGeom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20" name="Gruppieren 19"/>
          <p:cNvGrpSpPr/>
          <p:nvPr userDrawn="1"/>
        </p:nvGrpSpPr>
        <p:grpSpPr>
          <a:xfrm>
            <a:off x="347258" y="6137391"/>
            <a:ext cx="4134323" cy="122129"/>
            <a:chOff x="347258" y="6137391"/>
            <a:chExt cx="4134323" cy="122129"/>
          </a:xfrm>
        </p:grpSpPr>
        <p:sp>
          <p:nvSpPr>
            <p:cNvPr id="11" name="Freeform 34"/>
            <p:cNvSpPr>
              <a:spLocks noEditPoints="1"/>
            </p:cNvSpPr>
            <p:nvPr userDrawn="1"/>
          </p:nvSpPr>
          <p:spPr bwMode="auto">
            <a:xfrm>
              <a:off x="347258" y="6142701"/>
              <a:ext cx="563916" cy="91331"/>
            </a:xfrm>
            <a:custGeom>
              <a:avLst/>
              <a:gdLst>
                <a:gd name="T0" fmla="*/ 295 w 531"/>
                <a:gd name="T1" fmla="*/ 69 h 86"/>
                <a:gd name="T2" fmla="*/ 307 w 531"/>
                <a:gd name="T3" fmla="*/ 80 h 86"/>
                <a:gd name="T4" fmla="*/ 323 w 531"/>
                <a:gd name="T5" fmla="*/ 69 h 86"/>
                <a:gd name="T6" fmla="*/ 325 w 531"/>
                <a:gd name="T7" fmla="*/ 54 h 86"/>
                <a:gd name="T8" fmla="*/ 451 w 531"/>
                <a:gd name="T9" fmla="*/ 35 h 86"/>
                <a:gd name="T10" fmla="*/ 480 w 531"/>
                <a:gd name="T11" fmla="*/ 46 h 86"/>
                <a:gd name="T12" fmla="*/ 469 w 531"/>
                <a:gd name="T13" fmla="*/ 29 h 86"/>
                <a:gd name="T14" fmla="*/ 531 w 531"/>
                <a:gd name="T15" fmla="*/ 31 h 86"/>
                <a:gd name="T16" fmla="*/ 512 w 531"/>
                <a:gd name="T17" fmla="*/ 46 h 86"/>
                <a:gd name="T18" fmla="*/ 503 w 531"/>
                <a:gd name="T19" fmla="*/ 33 h 86"/>
                <a:gd name="T20" fmla="*/ 510 w 531"/>
                <a:gd name="T21" fmla="*/ 35 h 86"/>
                <a:gd name="T22" fmla="*/ 521 w 531"/>
                <a:gd name="T23" fmla="*/ 22 h 86"/>
                <a:gd name="T24" fmla="*/ 487 w 531"/>
                <a:gd name="T25" fmla="*/ 40 h 86"/>
                <a:gd name="T26" fmla="*/ 453 w 531"/>
                <a:gd name="T27" fmla="*/ 73 h 86"/>
                <a:gd name="T28" fmla="*/ 480 w 531"/>
                <a:gd name="T29" fmla="*/ 76 h 86"/>
                <a:gd name="T30" fmla="*/ 466 w 531"/>
                <a:gd name="T31" fmla="*/ 86 h 86"/>
                <a:gd name="T32" fmla="*/ 440 w 531"/>
                <a:gd name="T33" fmla="*/ 42 h 86"/>
                <a:gd name="T34" fmla="*/ 417 w 531"/>
                <a:gd name="T35" fmla="*/ 22 h 86"/>
                <a:gd name="T36" fmla="*/ 418 w 531"/>
                <a:gd name="T37" fmla="*/ 29 h 86"/>
                <a:gd name="T38" fmla="*/ 400 w 531"/>
                <a:gd name="T39" fmla="*/ 35 h 86"/>
                <a:gd name="T40" fmla="*/ 422 w 531"/>
                <a:gd name="T41" fmla="*/ 54 h 86"/>
                <a:gd name="T42" fmla="*/ 425 w 531"/>
                <a:gd name="T43" fmla="*/ 81 h 86"/>
                <a:gd name="T44" fmla="*/ 403 w 531"/>
                <a:gd name="T45" fmla="*/ 86 h 86"/>
                <a:gd name="T46" fmla="*/ 403 w 531"/>
                <a:gd name="T47" fmla="*/ 79 h 86"/>
                <a:gd name="T48" fmla="*/ 421 w 531"/>
                <a:gd name="T49" fmla="*/ 72 h 86"/>
                <a:gd name="T50" fmla="*/ 400 w 531"/>
                <a:gd name="T51" fmla="*/ 51 h 86"/>
                <a:gd name="T52" fmla="*/ 398 w 531"/>
                <a:gd name="T53" fmla="*/ 28 h 86"/>
                <a:gd name="T54" fmla="*/ 366 w 531"/>
                <a:gd name="T55" fmla="*/ 22 h 86"/>
                <a:gd name="T56" fmla="*/ 376 w 531"/>
                <a:gd name="T57" fmla="*/ 31 h 86"/>
                <a:gd name="T58" fmla="*/ 356 w 531"/>
                <a:gd name="T59" fmla="*/ 32 h 86"/>
                <a:gd name="T60" fmla="*/ 369 w 531"/>
                <a:gd name="T61" fmla="*/ 50 h 86"/>
                <a:gd name="T62" fmla="*/ 381 w 531"/>
                <a:gd name="T63" fmla="*/ 77 h 86"/>
                <a:gd name="T64" fmla="*/ 362 w 531"/>
                <a:gd name="T65" fmla="*/ 86 h 86"/>
                <a:gd name="T66" fmla="*/ 351 w 531"/>
                <a:gd name="T67" fmla="*/ 77 h 86"/>
                <a:gd name="T68" fmla="*/ 373 w 531"/>
                <a:gd name="T69" fmla="*/ 76 h 86"/>
                <a:gd name="T70" fmla="*/ 361 w 531"/>
                <a:gd name="T71" fmla="*/ 55 h 86"/>
                <a:gd name="T72" fmla="*/ 348 w 531"/>
                <a:gd name="T73" fmla="*/ 31 h 86"/>
                <a:gd name="T74" fmla="*/ 366 w 531"/>
                <a:gd name="T75" fmla="*/ 22 h 86"/>
                <a:gd name="T76" fmla="*/ 333 w 531"/>
                <a:gd name="T77" fmla="*/ 72 h 86"/>
                <a:gd name="T78" fmla="*/ 326 w 531"/>
                <a:gd name="T79" fmla="*/ 75 h 86"/>
                <a:gd name="T80" fmla="*/ 307 w 531"/>
                <a:gd name="T81" fmla="*/ 86 h 86"/>
                <a:gd name="T82" fmla="*/ 289 w 531"/>
                <a:gd name="T83" fmla="*/ 76 h 86"/>
                <a:gd name="T84" fmla="*/ 296 w 531"/>
                <a:gd name="T85" fmla="*/ 53 h 86"/>
                <a:gd name="T86" fmla="*/ 325 w 531"/>
                <a:gd name="T87" fmla="*/ 44 h 86"/>
                <a:gd name="T88" fmla="*/ 317 w 531"/>
                <a:gd name="T89" fmla="*/ 29 h 86"/>
                <a:gd name="T90" fmla="*/ 293 w 531"/>
                <a:gd name="T91" fmla="*/ 26 h 86"/>
                <a:gd name="T92" fmla="*/ 175 w 531"/>
                <a:gd name="T93" fmla="*/ 2 h 86"/>
                <a:gd name="T94" fmla="*/ 235 w 531"/>
                <a:gd name="T95" fmla="*/ 2 h 86"/>
                <a:gd name="T96" fmla="*/ 262 w 531"/>
                <a:gd name="T97" fmla="*/ 84 h 86"/>
                <a:gd name="T98" fmla="*/ 198 w 531"/>
                <a:gd name="T99" fmla="*/ 84 h 86"/>
                <a:gd name="T100" fmla="*/ 75 w 531"/>
                <a:gd name="T101" fmla="*/ 2 h 86"/>
                <a:gd name="T102" fmla="*/ 77 w 531"/>
                <a:gd name="T103" fmla="*/ 10 h 86"/>
                <a:gd name="T104" fmla="*/ 9 w 531"/>
                <a:gd name="T105" fmla="*/ 84 h 86"/>
                <a:gd name="T106" fmla="*/ 116 w 531"/>
                <a:gd name="T10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1" h="86">
                  <a:moveTo>
                    <a:pt x="323" y="54"/>
                  </a:moveTo>
                  <a:lnTo>
                    <a:pt x="314" y="54"/>
                  </a:lnTo>
                  <a:lnTo>
                    <a:pt x="304" y="57"/>
                  </a:lnTo>
                  <a:lnTo>
                    <a:pt x="297" y="61"/>
                  </a:lnTo>
                  <a:lnTo>
                    <a:pt x="295" y="69"/>
                  </a:lnTo>
                  <a:lnTo>
                    <a:pt x="296" y="73"/>
                  </a:lnTo>
                  <a:lnTo>
                    <a:pt x="297" y="76"/>
                  </a:lnTo>
                  <a:lnTo>
                    <a:pt x="300" y="77"/>
                  </a:lnTo>
                  <a:lnTo>
                    <a:pt x="304" y="79"/>
                  </a:lnTo>
                  <a:lnTo>
                    <a:pt x="307" y="80"/>
                  </a:lnTo>
                  <a:lnTo>
                    <a:pt x="312" y="79"/>
                  </a:lnTo>
                  <a:lnTo>
                    <a:pt x="317" y="77"/>
                  </a:lnTo>
                  <a:lnTo>
                    <a:pt x="319" y="75"/>
                  </a:lnTo>
                  <a:lnTo>
                    <a:pt x="322" y="72"/>
                  </a:lnTo>
                  <a:lnTo>
                    <a:pt x="323" y="69"/>
                  </a:lnTo>
                  <a:lnTo>
                    <a:pt x="325" y="66"/>
                  </a:lnTo>
                  <a:lnTo>
                    <a:pt x="325" y="64"/>
                  </a:lnTo>
                  <a:lnTo>
                    <a:pt x="325" y="59"/>
                  </a:lnTo>
                  <a:lnTo>
                    <a:pt x="325" y="58"/>
                  </a:lnTo>
                  <a:lnTo>
                    <a:pt x="325" y="54"/>
                  </a:lnTo>
                  <a:lnTo>
                    <a:pt x="323" y="54"/>
                  </a:lnTo>
                  <a:close/>
                  <a:moveTo>
                    <a:pt x="465" y="29"/>
                  </a:moveTo>
                  <a:lnTo>
                    <a:pt x="459" y="29"/>
                  </a:lnTo>
                  <a:lnTo>
                    <a:pt x="455" y="32"/>
                  </a:lnTo>
                  <a:lnTo>
                    <a:pt x="451" y="35"/>
                  </a:lnTo>
                  <a:lnTo>
                    <a:pt x="450" y="40"/>
                  </a:lnTo>
                  <a:lnTo>
                    <a:pt x="447" y="44"/>
                  </a:lnTo>
                  <a:lnTo>
                    <a:pt x="447" y="50"/>
                  </a:lnTo>
                  <a:lnTo>
                    <a:pt x="480" y="50"/>
                  </a:lnTo>
                  <a:lnTo>
                    <a:pt x="480" y="46"/>
                  </a:lnTo>
                  <a:lnTo>
                    <a:pt x="479" y="42"/>
                  </a:lnTo>
                  <a:lnTo>
                    <a:pt x="477" y="37"/>
                  </a:lnTo>
                  <a:lnTo>
                    <a:pt x="476" y="33"/>
                  </a:lnTo>
                  <a:lnTo>
                    <a:pt x="473" y="31"/>
                  </a:lnTo>
                  <a:lnTo>
                    <a:pt x="469" y="29"/>
                  </a:lnTo>
                  <a:lnTo>
                    <a:pt x="465" y="29"/>
                  </a:lnTo>
                  <a:close/>
                  <a:moveTo>
                    <a:pt x="525" y="22"/>
                  </a:moveTo>
                  <a:lnTo>
                    <a:pt x="528" y="22"/>
                  </a:lnTo>
                  <a:lnTo>
                    <a:pt x="531" y="22"/>
                  </a:lnTo>
                  <a:lnTo>
                    <a:pt x="531" y="31"/>
                  </a:lnTo>
                  <a:lnTo>
                    <a:pt x="528" y="31"/>
                  </a:lnTo>
                  <a:lnTo>
                    <a:pt x="525" y="31"/>
                  </a:lnTo>
                  <a:lnTo>
                    <a:pt x="519" y="32"/>
                  </a:lnTo>
                  <a:lnTo>
                    <a:pt x="513" y="39"/>
                  </a:lnTo>
                  <a:lnTo>
                    <a:pt x="512" y="46"/>
                  </a:lnTo>
                  <a:lnTo>
                    <a:pt x="510" y="54"/>
                  </a:lnTo>
                  <a:lnTo>
                    <a:pt x="510" y="84"/>
                  </a:lnTo>
                  <a:lnTo>
                    <a:pt x="503" y="84"/>
                  </a:lnTo>
                  <a:lnTo>
                    <a:pt x="503" y="37"/>
                  </a:lnTo>
                  <a:lnTo>
                    <a:pt x="503" y="33"/>
                  </a:lnTo>
                  <a:lnTo>
                    <a:pt x="503" y="29"/>
                  </a:lnTo>
                  <a:lnTo>
                    <a:pt x="502" y="26"/>
                  </a:lnTo>
                  <a:lnTo>
                    <a:pt x="502" y="24"/>
                  </a:lnTo>
                  <a:lnTo>
                    <a:pt x="510" y="24"/>
                  </a:lnTo>
                  <a:lnTo>
                    <a:pt x="510" y="35"/>
                  </a:lnTo>
                  <a:lnTo>
                    <a:pt x="510" y="35"/>
                  </a:lnTo>
                  <a:lnTo>
                    <a:pt x="512" y="32"/>
                  </a:lnTo>
                  <a:lnTo>
                    <a:pt x="514" y="28"/>
                  </a:lnTo>
                  <a:lnTo>
                    <a:pt x="517" y="25"/>
                  </a:lnTo>
                  <a:lnTo>
                    <a:pt x="521" y="22"/>
                  </a:lnTo>
                  <a:lnTo>
                    <a:pt x="525" y="22"/>
                  </a:lnTo>
                  <a:close/>
                  <a:moveTo>
                    <a:pt x="465" y="22"/>
                  </a:moveTo>
                  <a:lnTo>
                    <a:pt x="476" y="25"/>
                  </a:lnTo>
                  <a:lnTo>
                    <a:pt x="483" y="31"/>
                  </a:lnTo>
                  <a:lnTo>
                    <a:pt x="487" y="40"/>
                  </a:lnTo>
                  <a:lnTo>
                    <a:pt x="488" y="53"/>
                  </a:lnTo>
                  <a:lnTo>
                    <a:pt x="488" y="57"/>
                  </a:lnTo>
                  <a:lnTo>
                    <a:pt x="447" y="57"/>
                  </a:lnTo>
                  <a:lnTo>
                    <a:pt x="448" y="65"/>
                  </a:lnTo>
                  <a:lnTo>
                    <a:pt x="453" y="73"/>
                  </a:lnTo>
                  <a:lnTo>
                    <a:pt x="458" y="77"/>
                  </a:lnTo>
                  <a:lnTo>
                    <a:pt x="468" y="80"/>
                  </a:lnTo>
                  <a:lnTo>
                    <a:pt x="472" y="79"/>
                  </a:lnTo>
                  <a:lnTo>
                    <a:pt x="476" y="77"/>
                  </a:lnTo>
                  <a:lnTo>
                    <a:pt x="480" y="76"/>
                  </a:lnTo>
                  <a:lnTo>
                    <a:pt x="484" y="75"/>
                  </a:lnTo>
                  <a:lnTo>
                    <a:pt x="484" y="83"/>
                  </a:lnTo>
                  <a:lnTo>
                    <a:pt x="479" y="84"/>
                  </a:lnTo>
                  <a:lnTo>
                    <a:pt x="472" y="86"/>
                  </a:lnTo>
                  <a:lnTo>
                    <a:pt x="466" y="86"/>
                  </a:lnTo>
                  <a:lnTo>
                    <a:pt x="454" y="83"/>
                  </a:lnTo>
                  <a:lnTo>
                    <a:pt x="446" y="77"/>
                  </a:lnTo>
                  <a:lnTo>
                    <a:pt x="440" y="66"/>
                  </a:lnTo>
                  <a:lnTo>
                    <a:pt x="439" y="54"/>
                  </a:lnTo>
                  <a:lnTo>
                    <a:pt x="440" y="42"/>
                  </a:lnTo>
                  <a:lnTo>
                    <a:pt x="446" y="31"/>
                  </a:lnTo>
                  <a:lnTo>
                    <a:pt x="454" y="25"/>
                  </a:lnTo>
                  <a:lnTo>
                    <a:pt x="465" y="22"/>
                  </a:lnTo>
                  <a:close/>
                  <a:moveTo>
                    <a:pt x="413" y="22"/>
                  </a:moveTo>
                  <a:lnTo>
                    <a:pt x="417" y="22"/>
                  </a:lnTo>
                  <a:lnTo>
                    <a:pt x="422" y="24"/>
                  </a:lnTo>
                  <a:lnTo>
                    <a:pt x="428" y="25"/>
                  </a:lnTo>
                  <a:lnTo>
                    <a:pt x="427" y="32"/>
                  </a:lnTo>
                  <a:lnTo>
                    <a:pt x="422" y="31"/>
                  </a:lnTo>
                  <a:lnTo>
                    <a:pt x="418" y="29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6" y="31"/>
                  </a:lnTo>
                  <a:lnTo>
                    <a:pt x="402" y="32"/>
                  </a:lnTo>
                  <a:lnTo>
                    <a:pt x="400" y="35"/>
                  </a:lnTo>
                  <a:lnTo>
                    <a:pt x="400" y="39"/>
                  </a:lnTo>
                  <a:lnTo>
                    <a:pt x="402" y="43"/>
                  </a:lnTo>
                  <a:lnTo>
                    <a:pt x="407" y="47"/>
                  </a:lnTo>
                  <a:lnTo>
                    <a:pt x="416" y="50"/>
                  </a:lnTo>
                  <a:lnTo>
                    <a:pt x="422" y="54"/>
                  </a:lnTo>
                  <a:lnTo>
                    <a:pt x="428" y="61"/>
                  </a:lnTo>
                  <a:lnTo>
                    <a:pt x="429" y="69"/>
                  </a:lnTo>
                  <a:lnTo>
                    <a:pt x="429" y="73"/>
                  </a:lnTo>
                  <a:lnTo>
                    <a:pt x="428" y="77"/>
                  </a:lnTo>
                  <a:lnTo>
                    <a:pt x="425" y="81"/>
                  </a:lnTo>
                  <a:lnTo>
                    <a:pt x="421" y="83"/>
                  </a:lnTo>
                  <a:lnTo>
                    <a:pt x="417" y="84"/>
                  </a:lnTo>
                  <a:lnTo>
                    <a:pt x="413" y="86"/>
                  </a:lnTo>
                  <a:lnTo>
                    <a:pt x="409" y="86"/>
                  </a:lnTo>
                  <a:lnTo>
                    <a:pt x="403" y="86"/>
                  </a:lnTo>
                  <a:lnTo>
                    <a:pt x="398" y="84"/>
                  </a:lnTo>
                  <a:lnTo>
                    <a:pt x="392" y="83"/>
                  </a:lnTo>
                  <a:lnTo>
                    <a:pt x="392" y="76"/>
                  </a:lnTo>
                  <a:lnTo>
                    <a:pt x="398" y="77"/>
                  </a:lnTo>
                  <a:lnTo>
                    <a:pt x="403" y="79"/>
                  </a:lnTo>
                  <a:lnTo>
                    <a:pt x="409" y="80"/>
                  </a:lnTo>
                  <a:lnTo>
                    <a:pt x="413" y="79"/>
                  </a:lnTo>
                  <a:lnTo>
                    <a:pt x="416" y="77"/>
                  </a:lnTo>
                  <a:lnTo>
                    <a:pt x="420" y="76"/>
                  </a:lnTo>
                  <a:lnTo>
                    <a:pt x="421" y="72"/>
                  </a:lnTo>
                  <a:lnTo>
                    <a:pt x="422" y="69"/>
                  </a:lnTo>
                  <a:lnTo>
                    <a:pt x="420" y="62"/>
                  </a:lnTo>
                  <a:lnTo>
                    <a:pt x="414" y="58"/>
                  </a:lnTo>
                  <a:lnTo>
                    <a:pt x="407" y="55"/>
                  </a:lnTo>
                  <a:lnTo>
                    <a:pt x="400" y="51"/>
                  </a:lnTo>
                  <a:lnTo>
                    <a:pt x="395" y="46"/>
                  </a:lnTo>
                  <a:lnTo>
                    <a:pt x="392" y="39"/>
                  </a:lnTo>
                  <a:lnTo>
                    <a:pt x="394" y="35"/>
                  </a:lnTo>
                  <a:lnTo>
                    <a:pt x="395" y="31"/>
                  </a:lnTo>
                  <a:lnTo>
                    <a:pt x="398" y="28"/>
                  </a:lnTo>
                  <a:lnTo>
                    <a:pt x="400" y="25"/>
                  </a:lnTo>
                  <a:lnTo>
                    <a:pt x="405" y="24"/>
                  </a:lnTo>
                  <a:lnTo>
                    <a:pt x="409" y="22"/>
                  </a:lnTo>
                  <a:lnTo>
                    <a:pt x="413" y="22"/>
                  </a:lnTo>
                  <a:close/>
                  <a:moveTo>
                    <a:pt x="366" y="22"/>
                  </a:moveTo>
                  <a:lnTo>
                    <a:pt x="370" y="22"/>
                  </a:lnTo>
                  <a:lnTo>
                    <a:pt x="376" y="24"/>
                  </a:lnTo>
                  <a:lnTo>
                    <a:pt x="381" y="25"/>
                  </a:lnTo>
                  <a:lnTo>
                    <a:pt x="380" y="32"/>
                  </a:lnTo>
                  <a:lnTo>
                    <a:pt x="376" y="31"/>
                  </a:lnTo>
                  <a:lnTo>
                    <a:pt x="372" y="29"/>
                  </a:lnTo>
                  <a:lnTo>
                    <a:pt x="367" y="29"/>
                  </a:lnTo>
                  <a:lnTo>
                    <a:pt x="362" y="29"/>
                  </a:lnTo>
                  <a:lnTo>
                    <a:pt x="359" y="31"/>
                  </a:lnTo>
                  <a:lnTo>
                    <a:pt x="356" y="32"/>
                  </a:lnTo>
                  <a:lnTo>
                    <a:pt x="355" y="35"/>
                  </a:lnTo>
                  <a:lnTo>
                    <a:pt x="354" y="39"/>
                  </a:lnTo>
                  <a:lnTo>
                    <a:pt x="356" y="43"/>
                  </a:lnTo>
                  <a:lnTo>
                    <a:pt x="362" y="47"/>
                  </a:lnTo>
                  <a:lnTo>
                    <a:pt x="369" y="50"/>
                  </a:lnTo>
                  <a:lnTo>
                    <a:pt x="376" y="54"/>
                  </a:lnTo>
                  <a:lnTo>
                    <a:pt x="381" y="61"/>
                  </a:lnTo>
                  <a:lnTo>
                    <a:pt x="384" y="69"/>
                  </a:lnTo>
                  <a:lnTo>
                    <a:pt x="383" y="73"/>
                  </a:lnTo>
                  <a:lnTo>
                    <a:pt x="381" y="77"/>
                  </a:lnTo>
                  <a:lnTo>
                    <a:pt x="378" y="81"/>
                  </a:lnTo>
                  <a:lnTo>
                    <a:pt x="374" y="83"/>
                  </a:lnTo>
                  <a:lnTo>
                    <a:pt x="370" y="84"/>
                  </a:lnTo>
                  <a:lnTo>
                    <a:pt x="366" y="86"/>
                  </a:lnTo>
                  <a:lnTo>
                    <a:pt x="362" y="86"/>
                  </a:lnTo>
                  <a:lnTo>
                    <a:pt x="356" y="86"/>
                  </a:lnTo>
                  <a:lnTo>
                    <a:pt x="351" y="84"/>
                  </a:lnTo>
                  <a:lnTo>
                    <a:pt x="345" y="83"/>
                  </a:lnTo>
                  <a:lnTo>
                    <a:pt x="347" y="76"/>
                  </a:lnTo>
                  <a:lnTo>
                    <a:pt x="351" y="77"/>
                  </a:lnTo>
                  <a:lnTo>
                    <a:pt x="356" y="79"/>
                  </a:lnTo>
                  <a:lnTo>
                    <a:pt x="362" y="80"/>
                  </a:lnTo>
                  <a:lnTo>
                    <a:pt x="366" y="79"/>
                  </a:lnTo>
                  <a:lnTo>
                    <a:pt x="370" y="77"/>
                  </a:lnTo>
                  <a:lnTo>
                    <a:pt x="373" y="76"/>
                  </a:lnTo>
                  <a:lnTo>
                    <a:pt x="374" y="72"/>
                  </a:lnTo>
                  <a:lnTo>
                    <a:pt x="376" y="69"/>
                  </a:lnTo>
                  <a:lnTo>
                    <a:pt x="373" y="62"/>
                  </a:lnTo>
                  <a:lnTo>
                    <a:pt x="367" y="58"/>
                  </a:lnTo>
                  <a:lnTo>
                    <a:pt x="361" y="55"/>
                  </a:lnTo>
                  <a:lnTo>
                    <a:pt x="354" y="51"/>
                  </a:lnTo>
                  <a:lnTo>
                    <a:pt x="348" y="46"/>
                  </a:lnTo>
                  <a:lnTo>
                    <a:pt x="347" y="39"/>
                  </a:lnTo>
                  <a:lnTo>
                    <a:pt x="347" y="35"/>
                  </a:lnTo>
                  <a:lnTo>
                    <a:pt x="348" y="31"/>
                  </a:lnTo>
                  <a:lnTo>
                    <a:pt x="351" y="28"/>
                  </a:lnTo>
                  <a:lnTo>
                    <a:pt x="354" y="25"/>
                  </a:lnTo>
                  <a:lnTo>
                    <a:pt x="358" y="24"/>
                  </a:lnTo>
                  <a:lnTo>
                    <a:pt x="362" y="22"/>
                  </a:lnTo>
                  <a:lnTo>
                    <a:pt x="366" y="22"/>
                  </a:lnTo>
                  <a:close/>
                  <a:moveTo>
                    <a:pt x="311" y="22"/>
                  </a:moveTo>
                  <a:lnTo>
                    <a:pt x="323" y="25"/>
                  </a:lnTo>
                  <a:lnTo>
                    <a:pt x="330" y="32"/>
                  </a:lnTo>
                  <a:lnTo>
                    <a:pt x="333" y="44"/>
                  </a:lnTo>
                  <a:lnTo>
                    <a:pt x="333" y="72"/>
                  </a:lnTo>
                  <a:lnTo>
                    <a:pt x="333" y="79"/>
                  </a:lnTo>
                  <a:lnTo>
                    <a:pt x="333" y="84"/>
                  </a:lnTo>
                  <a:lnTo>
                    <a:pt x="326" y="84"/>
                  </a:lnTo>
                  <a:lnTo>
                    <a:pt x="326" y="75"/>
                  </a:lnTo>
                  <a:lnTo>
                    <a:pt x="326" y="75"/>
                  </a:lnTo>
                  <a:lnTo>
                    <a:pt x="323" y="79"/>
                  </a:lnTo>
                  <a:lnTo>
                    <a:pt x="319" y="81"/>
                  </a:lnTo>
                  <a:lnTo>
                    <a:pt x="315" y="84"/>
                  </a:lnTo>
                  <a:lnTo>
                    <a:pt x="311" y="86"/>
                  </a:lnTo>
                  <a:lnTo>
                    <a:pt x="307" y="86"/>
                  </a:lnTo>
                  <a:lnTo>
                    <a:pt x="301" y="86"/>
                  </a:lnTo>
                  <a:lnTo>
                    <a:pt x="296" y="84"/>
                  </a:lnTo>
                  <a:lnTo>
                    <a:pt x="293" y="81"/>
                  </a:lnTo>
                  <a:lnTo>
                    <a:pt x="290" y="79"/>
                  </a:lnTo>
                  <a:lnTo>
                    <a:pt x="289" y="76"/>
                  </a:lnTo>
                  <a:lnTo>
                    <a:pt x="288" y="73"/>
                  </a:lnTo>
                  <a:lnTo>
                    <a:pt x="286" y="70"/>
                  </a:lnTo>
                  <a:lnTo>
                    <a:pt x="286" y="69"/>
                  </a:lnTo>
                  <a:lnTo>
                    <a:pt x="289" y="58"/>
                  </a:lnTo>
                  <a:lnTo>
                    <a:pt x="296" y="53"/>
                  </a:lnTo>
                  <a:lnTo>
                    <a:pt x="304" y="48"/>
                  </a:lnTo>
                  <a:lnTo>
                    <a:pt x="314" y="47"/>
                  </a:lnTo>
                  <a:lnTo>
                    <a:pt x="323" y="47"/>
                  </a:lnTo>
                  <a:lnTo>
                    <a:pt x="325" y="47"/>
                  </a:lnTo>
                  <a:lnTo>
                    <a:pt x="325" y="44"/>
                  </a:lnTo>
                  <a:lnTo>
                    <a:pt x="325" y="40"/>
                  </a:lnTo>
                  <a:lnTo>
                    <a:pt x="325" y="35"/>
                  </a:lnTo>
                  <a:lnTo>
                    <a:pt x="322" y="32"/>
                  </a:lnTo>
                  <a:lnTo>
                    <a:pt x="319" y="31"/>
                  </a:lnTo>
                  <a:lnTo>
                    <a:pt x="317" y="29"/>
                  </a:lnTo>
                  <a:lnTo>
                    <a:pt x="311" y="29"/>
                  </a:lnTo>
                  <a:lnTo>
                    <a:pt x="306" y="29"/>
                  </a:lnTo>
                  <a:lnTo>
                    <a:pt x="300" y="31"/>
                  </a:lnTo>
                  <a:lnTo>
                    <a:pt x="293" y="33"/>
                  </a:lnTo>
                  <a:lnTo>
                    <a:pt x="293" y="26"/>
                  </a:lnTo>
                  <a:lnTo>
                    <a:pt x="297" y="25"/>
                  </a:lnTo>
                  <a:lnTo>
                    <a:pt x="303" y="24"/>
                  </a:lnTo>
                  <a:lnTo>
                    <a:pt x="307" y="22"/>
                  </a:lnTo>
                  <a:lnTo>
                    <a:pt x="311" y="22"/>
                  </a:lnTo>
                  <a:close/>
                  <a:moveTo>
                    <a:pt x="175" y="2"/>
                  </a:moveTo>
                  <a:lnTo>
                    <a:pt x="183" y="2"/>
                  </a:lnTo>
                  <a:lnTo>
                    <a:pt x="204" y="75"/>
                  </a:lnTo>
                  <a:lnTo>
                    <a:pt x="204" y="75"/>
                  </a:lnTo>
                  <a:lnTo>
                    <a:pt x="226" y="2"/>
                  </a:lnTo>
                  <a:lnTo>
                    <a:pt x="235" y="2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78" y="2"/>
                  </a:lnTo>
                  <a:lnTo>
                    <a:pt x="285" y="2"/>
                  </a:lnTo>
                  <a:lnTo>
                    <a:pt x="262" y="84"/>
                  </a:lnTo>
                  <a:lnTo>
                    <a:pt x="252" y="84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09" y="84"/>
                  </a:lnTo>
                  <a:lnTo>
                    <a:pt x="198" y="84"/>
                  </a:lnTo>
                  <a:lnTo>
                    <a:pt x="175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35"/>
            <p:cNvSpPr>
              <a:spLocks noEditPoints="1"/>
            </p:cNvSpPr>
            <p:nvPr userDrawn="1"/>
          </p:nvSpPr>
          <p:spPr bwMode="auto">
            <a:xfrm>
              <a:off x="1090650" y="6137391"/>
              <a:ext cx="490639" cy="96641"/>
            </a:xfrm>
            <a:custGeom>
              <a:avLst/>
              <a:gdLst>
                <a:gd name="T0" fmla="*/ 252 w 462"/>
                <a:gd name="T1" fmla="*/ 74 h 91"/>
                <a:gd name="T2" fmla="*/ 264 w 462"/>
                <a:gd name="T3" fmla="*/ 85 h 91"/>
                <a:gd name="T4" fmla="*/ 280 w 462"/>
                <a:gd name="T5" fmla="*/ 74 h 91"/>
                <a:gd name="T6" fmla="*/ 283 w 462"/>
                <a:gd name="T7" fmla="*/ 59 h 91"/>
                <a:gd name="T8" fmla="*/ 208 w 462"/>
                <a:gd name="T9" fmla="*/ 81 h 91"/>
                <a:gd name="T10" fmla="*/ 214 w 462"/>
                <a:gd name="T11" fmla="*/ 52 h 91"/>
                <a:gd name="T12" fmla="*/ 390 w 462"/>
                <a:gd name="T13" fmla="*/ 34 h 91"/>
                <a:gd name="T14" fmla="*/ 378 w 462"/>
                <a:gd name="T15" fmla="*/ 55 h 91"/>
                <a:gd name="T16" fmla="*/ 407 w 462"/>
                <a:gd name="T17" fmla="*/ 38 h 91"/>
                <a:gd name="T18" fmla="*/ 322 w 462"/>
                <a:gd name="T19" fmla="*/ 36 h 91"/>
                <a:gd name="T20" fmla="*/ 316 w 462"/>
                <a:gd name="T21" fmla="*/ 77 h 91"/>
                <a:gd name="T22" fmla="*/ 348 w 462"/>
                <a:gd name="T23" fmla="*/ 67 h 91"/>
                <a:gd name="T24" fmla="*/ 330 w 462"/>
                <a:gd name="T25" fmla="*/ 34 h 91"/>
                <a:gd name="T26" fmla="*/ 459 w 462"/>
                <a:gd name="T27" fmla="*/ 36 h 91"/>
                <a:gd name="T28" fmla="*/ 441 w 462"/>
                <a:gd name="T29" fmla="*/ 59 h 91"/>
                <a:gd name="T30" fmla="*/ 433 w 462"/>
                <a:gd name="T31" fmla="*/ 34 h 91"/>
                <a:gd name="T32" fmla="*/ 441 w 462"/>
                <a:gd name="T33" fmla="*/ 40 h 91"/>
                <a:gd name="T34" fmla="*/ 456 w 462"/>
                <a:gd name="T35" fmla="*/ 27 h 91"/>
                <a:gd name="T36" fmla="*/ 419 w 462"/>
                <a:gd name="T37" fmla="*/ 58 h 91"/>
                <a:gd name="T38" fmla="*/ 389 w 462"/>
                <a:gd name="T39" fmla="*/ 82 h 91"/>
                <a:gd name="T40" fmla="*/ 415 w 462"/>
                <a:gd name="T41" fmla="*/ 80 h 91"/>
                <a:gd name="T42" fmla="*/ 385 w 462"/>
                <a:gd name="T43" fmla="*/ 88 h 91"/>
                <a:gd name="T44" fmla="*/ 377 w 462"/>
                <a:gd name="T45" fmla="*/ 36 h 91"/>
                <a:gd name="T46" fmla="*/ 287 w 462"/>
                <a:gd name="T47" fmla="*/ 37 h 91"/>
                <a:gd name="T48" fmla="*/ 283 w 462"/>
                <a:gd name="T49" fmla="*/ 89 h 91"/>
                <a:gd name="T50" fmla="*/ 272 w 462"/>
                <a:gd name="T51" fmla="*/ 89 h 91"/>
                <a:gd name="T52" fmla="*/ 250 w 462"/>
                <a:gd name="T53" fmla="*/ 86 h 91"/>
                <a:gd name="T54" fmla="*/ 243 w 462"/>
                <a:gd name="T55" fmla="*/ 74 h 91"/>
                <a:gd name="T56" fmla="*/ 280 w 462"/>
                <a:gd name="T57" fmla="*/ 52 h 91"/>
                <a:gd name="T58" fmla="*/ 279 w 462"/>
                <a:gd name="T59" fmla="*/ 37 h 91"/>
                <a:gd name="T60" fmla="*/ 257 w 462"/>
                <a:gd name="T61" fmla="*/ 36 h 91"/>
                <a:gd name="T62" fmla="*/ 264 w 462"/>
                <a:gd name="T63" fmla="*/ 27 h 91"/>
                <a:gd name="T64" fmla="*/ 203 w 462"/>
                <a:gd name="T65" fmla="*/ 42 h 91"/>
                <a:gd name="T66" fmla="*/ 219 w 462"/>
                <a:gd name="T67" fmla="*/ 36 h 91"/>
                <a:gd name="T68" fmla="*/ 216 w 462"/>
                <a:gd name="T69" fmla="*/ 16 h 91"/>
                <a:gd name="T70" fmla="*/ 191 w 462"/>
                <a:gd name="T71" fmla="*/ 14 h 91"/>
                <a:gd name="T72" fmla="*/ 275 w 462"/>
                <a:gd name="T73" fmla="*/ 8 h 91"/>
                <a:gd name="T74" fmla="*/ 254 w 462"/>
                <a:gd name="T75" fmla="*/ 8 h 91"/>
                <a:gd name="T76" fmla="*/ 227 w 462"/>
                <a:gd name="T77" fmla="*/ 16 h 91"/>
                <a:gd name="T78" fmla="*/ 219 w 462"/>
                <a:gd name="T79" fmla="*/ 44 h 91"/>
                <a:gd name="T80" fmla="*/ 228 w 462"/>
                <a:gd name="T81" fmla="*/ 55 h 91"/>
                <a:gd name="T82" fmla="*/ 212 w 462"/>
                <a:gd name="T83" fmla="*/ 88 h 91"/>
                <a:gd name="T84" fmla="*/ 12 w 462"/>
                <a:gd name="T85" fmla="*/ 7 h 91"/>
                <a:gd name="T86" fmla="*/ 77 w 462"/>
                <a:gd name="T87" fmla="*/ 89 h 91"/>
                <a:gd name="T88" fmla="*/ 8 w 462"/>
                <a:gd name="T89" fmla="*/ 15 h 91"/>
                <a:gd name="T90" fmla="*/ 154 w 462"/>
                <a:gd name="T91" fmla="*/ 5 h 91"/>
                <a:gd name="T92" fmla="*/ 348 w 462"/>
                <a:gd name="T93" fmla="*/ 0 h 91"/>
                <a:gd name="T94" fmla="*/ 348 w 462"/>
                <a:gd name="T95" fmla="*/ 80 h 91"/>
                <a:gd name="T96" fmla="*/ 319 w 462"/>
                <a:gd name="T97" fmla="*/ 88 h 91"/>
                <a:gd name="T98" fmla="*/ 311 w 462"/>
                <a:gd name="T99" fmla="*/ 36 h 91"/>
                <a:gd name="T100" fmla="*/ 342 w 462"/>
                <a:gd name="T101" fmla="*/ 31 h 91"/>
                <a:gd name="T102" fmla="*/ 348 w 462"/>
                <a:gd name="T10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62" h="91">
                  <a:moveTo>
                    <a:pt x="280" y="59"/>
                  </a:moveTo>
                  <a:lnTo>
                    <a:pt x="271" y="59"/>
                  </a:lnTo>
                  <a:lnTo>
                    <a:pt x="261" y="62"/>
                  </a:lnTo>
                  <a:lnTo>
                    <a:pt x="254" y="66"/>
                  </a:lnTo>
                  <a:lnTo>
                    <a:pt x="252" y="74"/>
                  </a:lnTo>
                  <a:lnTo>
                    <a:pt x="253" y="78"/>
                  </a:lnTo>
                  <a:lnTo>
                    <a:pt x="254" y="81"/>
                  </a:lnTo>
                  <a:lnTo>
                    <a:pt x="257" y="82"/>
                  </a:lnTo>
                  <a:lnTo>
                    <a:pt x="261" y="84"/>
                  </a:lnTo>
                  <a:lnTo>
                    <a:pt x="264" y="85"/>
                  </a:lnTo>
                  <a:lnTo>
                    <a:pt x="269" y="84"/>
                  </a:lnTo>
                  <a:lnTo>
                    <a:pt x="274" y="82"/>
                  </a:lnTo>
                  <a:lnTo>
                    <a:pt x="278" y="80"/>
                  </a:lnTo>
                  <a:lnTo>
                    <a:pt x="279" y="77"/>
                  </a:lnTo>
                  <a:lnTo>
                    <a:pt x="280" y="74"/>
                  </a:lnTo>
                  <a:lnTo>
                    <a:pt x="282" y="71"/>
                  </a:lnTo>
                  <a:lnTo>
                    <a:pt x="282" y="69"/>
                  </a:lnTo>
                  <a:lnTo>
                    <a:pt x="282" y="64"/>
                  </a:lnTo>
                  <a:lnTo>
                    <a:pt x="283" y="63"/>
                  </a:lnTo>
                  <a:lnTo>
                    <a:pt x="283" y="59"/>
                  </a:lnTo>
                  <a:lnTo>
                    <a:pt x="280" y="59"/>
                  </a:lnTo>
                  <a:close/>
                  <a:moveTo>
                    <a:pt x="191" y="49"/>
                  </a:moveTo>
                  <a:lnTo>
                    <a:pt x="191" y="82"/>
                  </a:lnTo>
                  <a:lnTo>
                    <a:pt x="199" y="82"/>
                  </a:lnTo>
                  <a:lnTo>
                    <a:pt x="208" y="81"/>
                  </a:lnTo>
                  <a:lnTo>
                    <a:pt x="214" y="80"/>
                  </a:lnTo>
                  <a:lnTo>
                    <a:pt x="220" y="74"/>
                  </a:lnTo>
                  <a:lnTo>
                    <a:pt x="223" y="66"/>
                  </a:lnTo>
                  <a:lnTo>
                    <a:pt x="220" y="58"/>
                  </a:lnTo>
                  <a:lnTo>
                    <a:pt x="214" y="52"/>
                  </a:lnTo>
                  <a:lnTo>
                    <a:pt x="206" y="51"/>
                  </a:lnTo>
                  <a:lnTo>
                    <a:pt x="198" y="49"/>
                  </a:lnTo>
                  <a:lnTo>
                    <a:pt x="191" y="49"/>
                  </a:lnTo>
                  <a:close/>
                  <a:moveTo>
                    <a:pt x="396" y="34"/>
                  </a:moveTo>
                  <a:lnTo>
                    <a:pt x="390" y="34"/>
                  </a:lnTo>
                  <a:lnTo>
                    <a:pt x="386" y="37"/>
                  </a:lnTo>
                  <a:lnTo>
                    <a:pt x="382" y="40"/>
                  </a:lnTo>
                  <a:lnTo>
                    <a:pt x="379" y="45"/>
                  </a:lnTo>
                  <a:lnTo>
                    <a:pt x="378" y="49"/>
                  </a:lnTo>
                  <a:lnTo>
                    <a:pt x="378" y="55"/>
                  </a:lnTo>
                  <a:lnTo>
                    <a:pt x="411" y="55"/>
                  </a:lnTo>
                  <a:lnTo>
                    <a:pt x="411" y="51"/>
                  </a:lnTo>
                  <a:lnTo>
                    <a:pt x="410" y="47"/>
                  </a:lnTo>
                  <a:lnTo>
                    <a:pt x="408" y="42"/>
                  </a:lnTo>
                  <a:lnTo>
                    <a:pt x="407" y="38"/>
                  </a:lnTo>
                  <a:lnTo>
                    <a:pt x="404" y="36"/>
                  </a:lnTo>
                  <a:lnTo>
                    <a:pt x="400" y="34"/>
                  </a:lnTo>
                  <a:lnTo>
                    <a:pt x="396" y="34"/>
                  </a:lnTo>
                  <a:close/>
                  <a:moveTo>
                    <a:pt x="330" y="34"/>
                  </a:moveTo>
                  <a:lnTo>
                    <a:pt x="322" y="36"/>
                  </a:lnTo>
                  <a:lnTo>
                    <a:pt x="316" y="42"/>
                  </a:lnTo>
                  <a:lnTo>
                    <a:pt x="313" y="51"/>
                  </a:lnTo>
                  <a:lnTo>
                    <a:pt x="312" y="59"/>
                  </a:lnTo>
                  <a:lnTo>
                    <a:pt x="313" y="69"/>
                  </a:lnTo>
                  <a:lnTo>
                    <a:pt x="316" y="77"/>
                  </a:lnTo>
                  <a:lnTo>
                    <a:pt x="322" y="82"/>
                  </a:lnTo>
                  <a:lnTo>
                    <a:pt x="330" y="85"/>
                  </a:lnTo>
                  <a:lnTo>
                    <a:pt x="340" y="82"/>
                  </a:lnTo>
                  <a:lnTo>
                    <a:pt x="345" y="75"/>
                  </a:lnTo>
                  <a:lnTo>
                    <a:pt x="348" y="67"/>
                  </a:lnTo>
                  <a:lnTo>
                    <a:pt x="348" y="59"/>
                  </a:lnTo>
                  <a:lnTo>
                    <a:pt x="348" y="51"/>
                  </a:lnTo>
                  <a:lnTo>
                    <a:pt x="345" y="42"/>
                  </a:lnTo>
                  <a:lnTo>
                    <a:pt x="340" y="36"/>
                  </a:lnTo>
                  <a:lnTo>
                    <a:pt x="330" y="34"/>
                  </a:lnTo>
                  <a:close/>
                  <a:moveTo>
                    <a:pt x="456" y="27"/>
                  </a:moveTo>
                  <a:lnTo>
                    <a:pt x="459" y="27"/>
                  </a:lnTo>
                  <a:lnTo>
                    <a:pt x="462" y="27"/>
                  </a:lnTo>
                  <a:lnTo>
                    <a:pt x="462" y="36"/>
                  </a:lnTo>
                  <a:lnTo>
                    <a:pt x="459" y="36"/>
                  </a:lnTo>
                  <a:lnTo>
                    <a:pt x="456" y="36"/>
                  </a:lnTo>
                  <a:lnTo>
                    <a:pt x="448" y="37"/>
                  </a:lnTo>
                  <a:lnTo>
                    <a:pt x="444" y="44"/>
                  </a:lnTo>
                  <a:lnTo>
                    <a:pt x="441" y="51"/>
                  </a:lnTo>
                  <a:lnTo>
                    <a:pt x="441" y="59"/>
                  </a:lnTo>
                  <a:lnTo>
                    <a:pt x="441" y="89"/>
                  </a:lnTo>
                  <a:lnTo>
                    <a:pt x="433" y="89"/>
                  </a:lnTo>
                  <a:lnTo>
                    <a:pt x="433" y="42"/>
                  </a:lnTo>
                  <a:lnTo>
                    <a:pt x="433" y="38"/>
                  </a:lnTo>
                  <a:lnTo>
                    <a:pt x="433" y="34"/>
                  </a:lnTo>
                  <a:lnTo>
                    <a:pt x="433" y="31"/>
                  </a:lnTo>
                  <a:lnTo>
                    <a:pt x="433" y="29"/>
                  </a:lnTo>
                  <a:lnTo>
                    <a:pt x="440" y="29"/>
                  </a:lnTo>
                  <a:lnTo>
                    <a:pt x="440" y="40"/>
                  </a:lnTo>
                  <a:lnTo>
                    <a:pt x="441" y="40"/>
                  </a:lnTo>
                  <a:lnTo>
                    <a:pt x="443" y="37"/>
                  </a:lnTo>
                  <a:lnTo>
                    <a:pt x="445" y="33"/>
                  </a:lnTo>
                  <a:lnTo>
                    <a:pt x="448" y="30"/>
                  </a:lnTo>
                  <a:lnTo>
                    <a:pt x="452" y="27"/>
                  </a:lnTo>
                  <a:lnTo>
                    <a:pt x="456" y="27"/>
                  </a:lnTo>
                  <a:close/>
                  <a:moveTo>
                    <a:pt x="395" y="27"/>
                  </a:moveTo>
                  <a:lnTo>
                    <a:pt x="406" y="30"/>
                  </a:lnTo>
                  <a:lnTo>
                    <a:pt x="414" y="36"/>
                  </a:lnTo>
                  <a:lnTo>
                    <a:pt x="418" y="45"/>
                  </a:lnTo>
                  <a:lnTo>
                    <a:pt x="419" y="58"/>
                  </a:lnTo>
                  <a:lnTo>
                    <a:pt x="419" y="62"/>
                  </a:lnTo>
                  <a:lnTo>
                    <a:pt x="378" y="62"/>
                  </a:lnTo>
                  <a:lnTo>
                    <a:pt x="379" y="70"/>
                  </a:lnTo>
                  <a:lnTo>
                    <a:pt x="382" y="78"/>
                  </a:lnTo>
                  <a:lnTo>
                    <a:pt x="389" y="82"/>
                  </a:lnTo>
                  <a:lnTo>
                    <a:pt x="397" y="85"/>
                  </a:lnTo>
                  <a:lnTo>
                    <a:pt x="403" y="84"/>
                  </a:lnTo>
                  <a:lnTo>
                    <a:pt x="407" y="82"/>
                  </a:lnTo>
                  <a:lnTo>
                    <a:pt x="411" y="81"/>
                  </a:lnTo>
                  <a:lnTo>
                    <a:pt x="415" y="80"/>
                  </a:lnTo>
                  <a:lnTo>
                    <a:pt x="415" y="88"/>
                  </a:lnTo>
                  <a:lnTo>
                    <a:pt x="410" y="89"/>
                  </a:lnTo>
                  <a:lnTo>
                    <a:pt x="403" y="91"/>
                  </a:lnTo>
                  <a:lnTo>
                    <a:pt x="397" y="91"/>
                  </a:lnTo>
                  <a:lnTo>
                    <a:pt x="385" y="88"/>
                  </a:lnTo>
                  <a:lnTo>
                    <a:pt x="375" y="82"/>
                  </a:lnTo>
                  <a:lnTo>
                    <a:pt x="371" y="71"/>
                  </a:lnTo>
                  <a:lnTo>
                    <a:pt x="370" y="59"/>
                  </a:lnTo>
                  <a:lnTo>
                    <a:pt x="371" y="47"/>
                  </a:lnTo>
                  <a:lnTo>
                    <a:pt x="377" y="36"/>
                  </a:lnTo>
                  <a:lnTo>
                    <a:pt x="385" y="30"/>
                  </a:lnTo>
                  <a:lnTo>
                    <a:pt x="395" y="27"/>
                  </a:lnTo>
                  <a:close/>
                  <a:moveTo>
                    <a:pt x="268" y="27"/>
                  </a:moveTo>
                  <a:lnTo>
                    <a:pt x="280" y="30"/>
                  </a:lnTo>
                  <a:lnTo>
                    <a:pt x="287" y="37"/>
                  </a:lnTo>
                  <a:lnTo>
                    <a:pt x="290" y="49"/>
                  </a:lnTo>
                  <a:lnTo>
                    <a:pt x="290" y="77"/>
                  </a:lnTo>
                  <a:lnTo>
                    <a:pt x="290" y="84"/>
                  </a:lnTo>
                  <a:lnTo>
                    <a:pt x="290" y="89"/>
                  </a:lnTo>
                  <a:lnTo>
                    <a:pt x="283" y="89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0" y="84"/>
                  </a:lnTo>
                  <a:lnTo>
                    <a:pt x="276" y="86"/>
                  </a:lnTo>
                  <a:lnTo>
                    <a:pt x="272" y="89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58" y="91"/>
                  </a:lnTo>
                  <a:lnTo>
                    <a:pt x="253" y="89"/>
                  </a:lnTo>
                  <a:lnTo>
                    <a:pt x="250" y="86"/>
                  </a:lnTo>
                  <a:lnTo>
                    <a:pt x="247" y="84"/>
                  </a:lnTo>
                  <a:lnTo>
                    <a:pt x="246" y="81"/>
                  </a:lnTo>
                  <a:lnTo>
                    <a:pt x="245" y="78"/>
                  </a:lnTo>
                  <a:lnTo>
                    <a:pt x="243" y="75"/>
                  </a:lnTo>
                  <a:lnTo>
                    <a:pt x="243" y="74"/>
                  </a:lnTo>
                  <a:lnTo>
                    <a:pt x="246" y="63"/>
                  </a:lnTo>
                  <a:lnTo>
                    <a:pt x="253" y="58"/>
                  </a:lnTo>
                  <a:lnTo>
                    <a:pt x="261" y="53"/>
                  </a:lnTo>
                  <a:lnTo>
                    <a:pt x="271" y="52"/>
                  </a:lnTo>
                  <a:lnTo>
                    <a:pt x="280" y="52"/>
                  </a:lnTo>
                  <a:lnTo>
                    <a:pt x="283" y="52"/>
                  </a:lnTo>
                  <a:lnTo>
                    <a:pt x="283" y="49"/>
                  </a:lnTo>
                  <a:lnTo>
                    <a:pt x="282" y="45"/>
                  </a:lnTo>
                  <a:lnTo>
                    <a:pt x="282" y="40"/>
                  </a:lnTo>
                  <a:lnTo>
                    <a:pt x="279" y="37"/>
                  </a:lnTo>
                  <a:lnTo>
                    <a:pt x="276" y="36"/>
                  </a:lnTo>
                  <a:lnTo>
                    <a:pt x="274" y="34"/>
                  </a:lnTo>
                  <a:lnTo>
                    <a:pt x="268" y="34"/>
                  </a:lnTo>
                  <a:lnTo>
                    <a:pt x="263" y="34"/>
                  </a:lnTo>
                  <a:lnTo>
                    <a:pt x="257" y="36"/>
                  </a:lnTo>
                  <a:lnTo>
                    <a:pt x="250" y="38"/>
                  </a:lnTo>
                  <a:lnTo>
                    <a:pt x="250" y="31"/>
                  </a:lnTo>
                  <a:lnTo>
                    <a:pt x="254" y="30"/>
                  </a:lnTo>
                  <a:lnTo>
                    <a:pt x="260" y="29"/>
                  </a:lnTo>
                  <a:lnTo>
                    <a:pt x="264" y="27"/>
                  </a:lnTo>
                  <a:lnTo>
                    <a:pt x="268" y="27"/>
                  </a:lnTo>
                  <a:close/>
                  <a:moveTo>
                    <a:pt x="191" y="14"/>
                  </a:moveTo>
                  <a:lnTo>
                    <a:pt x="191" y="42"/>
                  </a:lnTo>
                  <a:lnTo>
                    <a:pt x="199" y="42"/>
                  </a:lnTo>
                  <a:lnTo>
                    <a:pt x="203" y="42"/>
                  </a:lnTo>
                  <a:lnTo>
                    <a:pt x="206" y="42"/>
                  </a:lnTo>
                  <a:lnTo>
                    <a:pt x="210" y="41"/>
                  </a:lnTo>
                  <a:lnTo>
                    <a:pt x="213" y="40"/>
                  </a:lnTo>
                  <a:lnTo>
                    <a:pt x="216" y="38"/>
                  </a:lnTo>
                  <a:lnTo>
                    <a:pt x="219" y="36"/>
                  </a:lnTo>
                  <a:lnTo>
                    <a:pt x="220" y="31"/>
                  </a:lnTo>
                  <a:lnTo>
                    <a:pt x="220" y="27"/>
                  </a:lnTo>
                  <a:lnTo>
                    <a:pt x="220" y="23"/>
                  </a:lnTo>
                  <a:lnTo>
                    <a:pt x="217" y="19"/>
                  </a:lnTo>
                  <a:lnTo>
                    <a:pt x="216" y="16"/>
                  </a:lnTo>
                  <a:lnTo>
                    <a:pt x="212" y="15"/>
                  </a:lnTo>
                  <a:lnTo>
                    <a:pt x="209" y="14"/>
                  </a:lnTo>
                  <a:lnTo>
                    <a:pt x="205" y="14"/>
                  </a:lnTo>
                  <a:lnTo>
                    <a:pt x="202" y="14"/>
                  </a:lnTo>
                  <a:lnTo>
                    <a:pt x="191" y="14"/>
                  </a:lnTo>
                  <a:close/>
                  <a:moveTo>
                    <a:pt x="275" y="8"/>
                  </a:moveTo>
                  <a:lnTo>
                    <a:pt x="283" y="8"/>
                  </a:lnTo>
                  <a:lnTo>
                    <a:pt x="283" y="19"/>
                  </a:lnTo>
                  <a:lnTo>
                    <a:pt x="275" y="19"/>
                  </a:lnTo>
                  <a:lnTo>
                    <a:pt x="275" y="8"/>
                  </a:lnTo>
                  <a:close/>
                  <a:moveTo>
                    <a:pt x="254" y="8"/>
                  </a:moveTo>
                  <a:lnTo>
                    <a:pt x="263" y="8"/>
                  </a:lnTo>
                  <a:lnTo>
                    <a:pt x="263" y="19"/>
                  </a:lnTo>
                  <a:lnTo>
                    <a:pt x="254" y="19"/>
                  </a:lnTo>
                  <a:lnTo>
                    <a:pt x="254" y="8"/>
                  </a:lnTo>
                  <a:close/>
                  <a:moveTo>
                    <a:pt x="183" y="7"/>
                  </a:moveTo>
                  <a:lnTo>
                    <a:pt x="202" y="7"/>
                  </a:lnTo>
                  <a:lnTo>
                    <a:pt x="212" y="7"/>
                  </a:lnTo>
                  <a:lnTo>
                    <a:pt x="220" y="11"/>
                  </a:lnTo>
                  <a:lnTo>
                    <a:pt x="227" y="16"/>
                  </a:lnTo>
                  <a:lnTo>
                    <a:pt x="228" y="27"/>
                  </a:lnTo>
                  <a:lnTo>
                    <a:pt x="228" y="33"/>
                  </a:lnTo>
                  <a:lnTo>
                    <a:pt x="225" y="37"/>
                  </a:lnTo>
                  <a:lnTo>
                    <a:pt x="223" y="41"/>
                  </a:lnTo>
                  <a:lnTo>
                    <a:pt x="219" y="44"/>
                  </a:lnTo>
                  <a:lnTo>
                    <a:pt x="213" y="45"/>
                  </a:lnTo>
                  <a:lnTo>
                    <a:pt x="213" y="47"/>
                  </a:lnTo>
                  <a:lnTo>
                    <a:pt x="219" y="48"/>
                  </a:lnTo>
                  <a:lnTo>
                    <a:pt x="224" y="51"/>
                  </a:lnTo>
                  <a:lnTo>
                    <a:pt x="228" y="55"/>
                  </a:lnTo>
                  <a:lnTo>
                    <a:pt x="230" y="60"/>
                  </a:lnTo>
                  <a:lnTo>
                    <a:pt x="231" y="66"/>
                  </a:lnTo>
                  <a:lnTo>
                    <a:pt x="228" y="77"/>
                  </a:lnTo>
                  <a:lnTo>
                    <a:pt x="221" y="84"/>
                  </a:lnTo>
                  <a:lnTo>
                    <a:pt x="212" y="88"/>
                  </a:lnTo>
                  <a:lnTo>
                    <a:pt x="199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3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47" y="89"/>
                  </a:lnTo>
                  <a:lnTo>
                    <a:pt x="39" y="8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4" y="5"/>
                  </a:moveTo>
                  <a:lnTo>
                    <a:pt x="162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4" y="5"/>
                  </a:lnTo>
                  <a:close/>
                  <a:moveTo>
                    <a:pt x="348" y="0"/>
                  </a:moveTo>
                  <a:lnTo>
                    <a:pt x="356" y="0"/>
                  </a:lnTo>
                  <a:lnTo>
                    <a:pt x="356" y="89"/>
                  </a:lnTo>
                  <a:lnTo>
                    <a:pt x="348" y="89"/>
                  </a:lnTo>
                  <a:lnTo>
                    <a:pt x="348" y="80"/>
                  </a:lnTo>
                  <a:lnTo>
                    <a:pt x="348" y="80"/>
                  </a:lnTo>
                  <a:lnTo>
                    <a:pt x="345" y="85"/>
                  </a:lnTo>
                  <a:lnTo>
                    <a:pt x="341" y="88"/>
                  </a:lnTo>
                  <a:lnTo>
                    <a:pt x="335" y="91"/>
                  </a:lnTo>
                  <a:lnTo>
                    <a:pt x="330" y="91"/>
                  </a:lnTo>
                  <a:lnTo>
                    <a:pt x="319" y="88"/>
                  </a:lnTo>
                  <a:lnTo>
                    <a:pt x="311" y="82"/>
                  </a:lnTo>
                  <a:lnTo>
                    <a:pt x="307" y="71"/>
                  </a:lnTo>
                  <a:lnTo>
                    <a:pt x="304" y="59"/>
                  </a:lnTo>
                  <a:lnTo>
                    <a:pt x="305" y="47"/>
                  </a:lnTo>
                  <a:lnTo>
                    <a:pt x="311" y="36"/>
                  </a:lnTo>
                  <a:lnTo>
                    <a:pt x="318" y="30"/>
                  </a:lnTo>
                  <a:lnTo>
                    <a:pt x="330" y="27"/>
                  </a:lnTo>
                  <a:lnTo>
                    <a:pt x="335" y="27"/>
                  </a:lnTo>
                  <a:lnTo>
                    <a:pt x="340" y="30"/>
                  </a:lnTo>
                  <a:lnTo>
                    <a:pt x="342" y="31"/>
                  </a:lnTo>
                  <a:lnTo>
                    <a:pt x="345" y="34"/>
                  </a:lnTo>
                  <a:lnTo>
                    <a:pt x="348" y="37"/>
                  </a:lnTo>
                  <a:lnTo>
                    <a:pt x="348" y="38"/>
                  </a:lnTo>
                  <a:lnTo>
                    <a:pt x="348" y="38"/>
                  </a:lnTo>
                  <a:lnTo>
                    <a:pt x="3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36"/>
            <p:cNvSpPr>
              <a:spLocks noEditPoints="1"/>
            </p:cNvSpPr>
            <p:nvPr userDrawn="1"/>
          </p:nvSpPr>
          <p:spPr bwMode="auto">
            <a:xfrm>
              <a:off x="1759703" y="6142701"/>
              <a:ext cx="495949" cy="91331"/>
            </a:xfrm>
            <a:custGeom>
              <a:avLst/>
              <a:gdLst>
                <a:gd name="T0" fmla="*/ 324 w 467"/>
                <a:gd name="T1" fmla="*/ 44 h 86"/>
                <a:gd name="T2" fmla="*/ 335 w 467"/>
                <a:gd name="T3" fmla="*/ 77 h 86"/>
                <a:gd name="T4" fmla="*/ 362 w 467"/>
                <a:gd name="T5" fmla="*/ 64 h 86"/>
                <a:gd name="T6" fmla="*/ 351 w 467"/>
                <a:gd name="T7" fmla="*/ 31 h 86"/>
                <a:gd name="T8" fmla="*/ 417 w 467"/>
                <a:gd name="T9" fmla="*/ 24 h 86"/>
                <a:gd name="T10" fmla="*/ 427 w 467"/>
                <a:gd name="T11" fmla="*/ 35 h 86"/>
                <a:gd name="T12" fmla="*/ 437 w 467"/>
                <a:gd name="T13" fmla="*/ 25 h 86"/>
                <a:gd name="T14" fmla="*/ 457 w 467"/>
                <a:gd name="T15" fmla="*/ 25 h 86"/>
                <a:gd name="T16" fmla="*/ 467 w 467"/>
                <a:gd name="T17" fmla="*/ 43 h 86"/>
                <a:gd name="T18" fmla="*/ 459 w 467"/>
                <a:gd name="T19" fmla="*/ 40 h 86"/>
                <a:gd name="T20" fmla="*/ 450 w 467"/>
                <a:gd name="T21" fmla="*/ 29 h 86"/>
                <a:gd name="T22" fmla="*/ 430 w 467"/>
                <a:gd name="T23" fmla="*/ 51 h 86"/>
                <a:gd name="T24" fmla="*/ 422 w 467"/>
                <a:gd name="T25" fmla="*/ 40 h 86"/>
                <a:gd name="T26" fmla="*/ 413 w 467"/>
                <a:gd name="T27" fmla="*/ 29 h 86"/>
                <a:gd name="T28" fmla="*/ 393 w 467"/>
                <a:gd name="T29" fmla="*/ 51 h 86"/>
                <a:gd name="T30" fmla="*/ 386 w 467"/>
                <a:gd name="T31" fmla="*/ 31 h 86"/>
                <a:gd name="T32" fmla="*/ 393 w 467"/>
                <a:gd name="T33" fmla="*/ 35 h 86"/>
                <a:gd name="T34" fmla="*/ 400 w 467"/>
                <a:gd name="T35" fmla="*/ 25 h 86"/>
                <a:gd name="T36" fmla="*/ 343 w 467"/>
                <a:gd name="T37" fmla="*/ 22 h 86"/>
                <a:gd name="T38" fmla="*/ 372 w 467"/>
                <a:gd name="T39" fmla="*/ 54 h 86"/>
                <a:gd name="T40" fmla="*/ 343 w 467"/>
                <a:gd name="T41" fmla="*/ 86 h 86"/>
                <a:gd name="T42" fmla="*/ 314 w 467"/>
                <a:gd name="T43" fmla="*/ 54 h 86"/>
                <a:gd name="T44" fmla="*/ 343 w 467"/>
                <a:gd name="T45" fmla="*/ 22 h 86"/>
                <a:gd name="T46" fmla="*/ 310 w 467"/>
                <a:gd name="T47" fmla="*/ 31 h 86"/>
                <a:gd name="T48" fmla="*/ 292 w 467"/>
                <a:gd name="T49" fmla="*/ 39 h 86"/>
                <a:gd name="T50" fmla="*/ 281 w 467"/>
                <a:gd name="T51" fmla="*/ 84 h 86"/>
                <a:gd name="T52" fmla="*/ 281 w 467"/>
                <a:gd name="T53" fmla="*/ 26 h 86"/>
                <a:gd name="T54" fmla="*/ 290 w 467"/>
                <a:gd name="T55" fmla="*/ 35 h 86"/>
                <a:gd name="T56" fmla="*/ 301 w 467"/>
                <a:gd name="T57" fmla="*/ 22 h 86"/>
                <a:gd name="T58" fmla="*/ 269 w 467"/>
                <a:gd name="T59" fmla="*/ 24 h 86"/>
                <a:gd name="T60" fmla="*/ 255 w 467"/>
                <a:gd name="T61" fmla="*/ 73 h 86"/>
                <a:gd name="T62" fmla="*/ 263 w 467"/>
                <a:gd name="T63" fmla="*/ 80 h 86"/>
                <a:gd name="T64" fmla="*/ 268 w 467"/>
                <a:gd name="T65" fmla="*/ 86 h 86"/>
                <a:gd name="T66" fmla="*/ 252 w 467"/>
                <a:gd name="T67" fmla="*/ 84 h 86"/>
                <a:gd name="T68" fmla="*/ 247 w 467"/>
                <a:gd name="T69" fmla="*/ 70 h 86"/>
                <a:gd name="T70" fmla="*/ 236 w 467"/>
                <a:gd name="T71" fmla="*/ 24 h 86"/>
                <a:gd name="T72" fmla="*/ 0 w 467"/>
                <a:gd name="T73" fmla="*/ 2 h 86"/>
                <a:gd name="T74" fmla="*/ 86 w 467"/>
                <a:gd name="T75" fmla="*/ 2 h 86"/>
                <a:gd name="T76" fmla="*/ 77 w 467"/>
                <a:gd name="T77" fmla="*/ 10 h 86"/>
                <a:gd name="T78" fmla="*/ 8 w 467"/>
                <a:gd name="T79" fmla="*/ 10 h 86"/>
                <a:gd name="T80" fmla="*/ 207 w 467"/>
                <a:gd name="T81" fmla="*/ 0 h 86"/>
                <a:gd name="T82" fmla="*/ 222 w 467"/>
                <a:gd name="T83" fmla="*/ 10 h 86"/>
                <a:gd name="T84" fmla="*/ 203 w 467"/>
                <a:gd name="T85" fmla="*/ 7 h 86"/>
                <a:gd name="T86" fmla="*/ 191 w 467"/>
                <a:gd name="T87" fmla="*/ 14 h 86"/>
                <a:gd name="T88" fmla="*/ 199 w 467"/>
                <a:gd name="T89" fmla="*/ 33 h 86"/>
                <a:gd name="T90" fmla="*/ 226 w 467"/>
                <a:gd name="T91" fmla="*/ 62 h 86"/>
                <a:gd name="T92" fmla="*/ 199 w 467"/>
                <a:gd name="T93" fmla="*/ 86 h 86"/>
                <a:gd name="T94" fmla="*/ 181 w 467"/>
                <a:gd name="T95" fmla="*/ 73 h 86"/>
                <a:gd name="T96" fmla="*/ 204 w 467"/>
                <a:gd name="T97" fmla="*/ 79 h 86"/>
                <a:gd name="T98" fmla="*/ 218 w 467"/>
                <a:gd name="T99" fmla="*/ 68 h 86"/>
                <a:gd name="T100" fmla="*/ 199 w 467"/>
                <a:gd name="T101" fmla="*/ 44 h 86"/>
                <a:gd name="T102" fmla="*/ 182 w 467"/>
                <a:gd name="T103" fmla="*/ 13 h 86"/>
                <a:gd name="T104" fmla="*/ 154 w 467"/>
                <a:gd name="T105" fmla="*/ 0 h 86"/>
                <a:gd name="T106" fmla="*/ 154 w 467"/>
                <a:gd name="T10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67" h="86">
                  <a:moveTo>
                    <a:pt x="343" y="29"/>
                  </a:moveTo>
                  <a:lnTo>
                    <a:pt x="335" y="31"/>
                  </a:lnTo>
                  <a:lnTo>
                    <a:pt x="328" y="36"/>
                  </a:lnTo>
                  <a:lnTo>
                    <a:pt x="324" y="44"/>
                  </a:lnTo>
                  <a:lnTo>
                    <a:pt x="323" y="54"/>
                  </a:lnTo>
                  <a:lnTo>
                    <a:pt x="324" y="64"/>
                  </a:lnTo>
                  <a:lnTo>
                    <a:pt x="328" y="72"/>
                  </a:lnTo>
                  <a:lnTo>
                    <a:pt x="335" y="77"/>
                  </a:lnTo>
                  <a:lnTo>
                    <a:pt x="343" y="80"/>
                  </a:lnTo>
                  <a:lnTo>
                    <a:pt x="351" y="77"/>
                  </a:lnTo>
                  <a:lnTo>
                    <a:pt x="358" y="72"/>
                  </a:lnTo>
                  <a:lnTo>
                    <a:pt x="362" y="64"/>
                  </a:lnTo>
                  <a:lnTo>
                    <a:pt x="364" y="54"/>
                  </a:lnTo>
                  <a:lnTo>
                    <a:pt x="362" y="44"/>
                  </a:lnTo>
                  <a:lnTo>
                    <a:pt x="358" y="36"/>
                  </a:lnTo>
                  <a:lnTo>
                    <a:pt x="351" y="31"/>
                  </a:lnTo>
                  <a:lnTo>
                    <a:pt x="343" y="29"/>
                  </a:lnTo>
                  <a:close/>
                  <a:moveTo>
                    <a:pt x="412" y="22"/>
                  </a:moveTo>
                  <a:lnTo>
                    <a:pt x="415" y="22"/>
                  </a:lnTo>
                  <a:lnTo>
                    <a:pt x="417" y="24"/>
                  </a:lnTo>
                  <a:lnTo>
                    <a:pt x="422" y="25"/>
                  </a:lnTo>
                  <a:lnTo>
                    <a:pt x="424" y="26"/>
                  </a:lnTo>
                  <a:lnTo>
                    <a:pt x="426" y="31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30" y="31"/>
                  </a:lnTo>
                  <a:lnTo>
                    <a:pt x="433" y="28"/>
                  </a:lnTo>
                  <a:lnTo>
                    <a:pt x="437" y="25"/>
                  </a:lnTo>
                  <a:lnTo>
                    <a:pt x="442" y="22"/>
                  </a:lnTo>
                  <a:lnTo>
                    <a:pt x="448" y="22"/>
                  </a:lnTo>
                  <a:lnTo>
                    <a:pt x="453" y="22"/>
                  </a:lnTo>
                  <a:lnTo>
                    <a:pt x="457" y="25"/>
                  </a:lnTo>
                  <a:lnTo>
                    <a:pt x="461" y="28"/>
                  </a:lnTo>
                  <a:lnTo>
                    <a:pt x="464" y="32"/>
                  </a:lnTo>
                  <a:lnTo>
                    <a:pt x="466" y="37"/>
                  </a:lnTo>
                  <a:lnTo>
                    <a:pt x="467" y="43"/>
                  </a:lnTo>
                  <a:lnTo>
                    <a:pt x="467" y="84"/>
                  </a:lnTo>
                  <a:lnTo>
                    <a:pt x="459" y="84"/>
                  </a:lnTo>
                  <a:lnTo>
                    <a:pt x="459" y="44"/>
                  </a:lnTo>
                  <a:lnTo>
                    <a:pt x="459" y="40"/>
                  </a:lnTo>
                  <a:lnTo>
                    <a:pt x="457" y="36"/>
                  </a:lnTo>
                  <a:lnTo>
                    <a:pt x="456" y="33"/>
                  </a:lnTo>
                  <a:lnTo>
                    <a:pt x="453" y="31"/>
                  </a:lnTo>
                  <a:lnTo>
                    <a:pt x="450" y="29"/>
                  </a:lnTo>
                  <a:lnTo>
                    <a:pt x="446" y="29"/>
                  </a:lnTo>
                  <a:lnTo>
                    <a:pt x="438" y="31"/>
                  </a:lnTo>
                  <a:lnTo>
                    <a:pt x="433" y="39"/>
                  </a:lnTo>
                  <a:lnTo>
                    <a:pt x="430" y="51"/>
                  </a:lnTo>
                  <a:lnTo>
                    <a:pt x="430" y="84"/>
                  </a:lnTo>
                  <a:lnTo>
                    <a:pt x="423" y="84"/>
                  </a:lnTo>
                  <a:lnTo>
                    <a:pt x="423" y="44"/>
                  </a:lnTo>
                  <a:lnTo>
                    <a:pt x="422" y="40"/>
                  </a:lnTo>
                  <a:lnTo>
                    <a:pt x="422" y="36"/>
                  </a:lnTo>
                  <a:lnTo>
                    <a:pt x="420" y="33"/>
                  </a:lnTo>
                  <a:lnTo>
                    <a:pt x="417" y="31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1" y="31"/>
                  </a:lnTo>
                  <a:lnTo>
                    <a:pt x="395" y="39"/>
                  </a:lnTo>
                  <a:lnTo>
                    <a:pt x="393" y="51"/>
                  </a:lnTo>
                  <a:lnTo>
                    <a:pt x="393" y="84"/>
                  </a:lnTo>
                  <a:lnTo>
                    <a:pt x="386" y="84"/>
                  </a:lnTo>
                  <a:lnTo>
                    <a:pt x="386" y="37"/>
                  </a:lnTo>
                  <a:lnTo>
                    <a:pt x="386" y="31"/>
                  </a:lnTo>
                  <a:lnTo>
                    <a:pt x="386" y="24"/>
                  </a:lnTo>
                  <a:lnTo>
                    <a:pt x="393" y="24"/>
                  </a:lnTo>
                  <a:lnTo>
                    <a:pt x="393" y="33"/>
                  </a:lnTo>
                  <a:lnTo>
                    <a:pt x="393" y="35"/>
                  </a:lnTo>
                  <a:lnTo>
                    <a:pt x="394" y="32"/>
                  </a:lnTo>
                  <a:lnTo>
                    <a:pt x="395" y="31"/>
                  </a:lnTo>
                  <a:lnTo>
                    <a:pt x="397" y="28"/>
                  </a:lnTo>
                  <a:lnTo>
                    <a:pt x="400" y="25"/>
                  </a:lnTo>
                  <a:lnTo>
                    <a:pt x="402" y="24"/>
                  </a:lnTo>
                  <a:lnTo>
                    <a:pt x="406" y="22"/>
                  </a:lnTo>
                  <a:lnTo>
                    <a:pt x="412" y="22"/>
                  </a:lnTo>
                  <a:close/>
                  <a:moveTo>
                    <a:pt x="343" y="22"/>
                  </a:moveTo>
                  <a:lnTo>
                    <a:pt x="356" y="25"/>
                  </a:lnTo>
                  <a:lnTo>
                    <a:pt x="365" y="32"/>
                  </a:lnTo>
                  <a:lnTo>
                    <a:pt x="369" y="42"/>
                  </a:lnTo>
                  <a:lnTo>
                    <a:pt x="372" y="54"/>
                  </a:lnTo>
                  <a:lnTo>
                    <a:pt x="369" y="66"/>
                  </a:lnTo>
                  <a:lnTo>
                    <a:pt x="365" y="76"/>
                  </a:lnTo>
                  <a:lnTo>
                    <a:pt x="356" y="83"/>
                  </a:lnTo>
                  <a:lnTo>
                    <a:pt x="343" y="86"/>
                  </a:lnTo>
                  <a:lnTo>
                    <a:pt x="331" y="83"/>
                  </a:lnTo>
                  <a:lnTo>
                    <a:pt x="321" y="76"/>
                  </a:lnTo>
                  <a:lnTo>
                    <a:pt x="317" y="66"/>
                  </a:lnTo>
                  <a:lnTo>
                    <a:pt x="314" y="54"/>
                  </a:lnTo>
                  <a:lnTo>
                    <a:pt x="317" y="42"/>
                  </a:lnTo>
                  <a:lnTo>
                    <a:pt x="321" y="32"/>
                  </a:lnTo>
                  <a:lnTo>
                    <a:pt x="331" y="25"/>
                  </a:lnTo>
                  <a:lnTo>
                    <a:pt x="343" y="22"/>
                  </a:lnTo>
                  <a:close/>
                  <a:moveTo>
                    <a:pt x="305" y="22"/>
                  </a:moveTo>
                  <a:lnTo>
                    <a:pt x="307" y="22"/>
                  </a:lnTo>
                  <a:lnTo>
                    <a:pt x="310" y="22"/>
                  </a:lnTo>
                  <a:lnTo>
                    <a:pt x="310" y="31"/>
                  </a:lnTo>
                  <a:lnTo>
                    <a:pt x="307" y="31"/>
                  </a:lnTo>
                  <a:lnTo>
                    <a:pt x="305" y="31"/>
                  </a:lnTo>
                  <a:lnTo>
                    <a:pt x="298" y="32"/>
                  </a:lnTo>
                  <a:lnTo>
                    <a:pt x="292" y="39"/>
                  </a:lnTo>
                  <a:lnTo>
                    <a:pt x="290" y="46"/>
                  </a:lnTo>
                  <a:lnTo>
                    <a:pt x="290" y="54"/>
                  </a:lnTo>
                  <a:lnTo>
                    <a:pt x="290" y="84"/>
                  </a:lnTo>
                  <a:lnTo>
                    <a:pt x="281" y="84"/>
                  </a:lnTo>
                  <a:lnTo>
                    <a:pt x="281" y="37"/>
                  </a:lnTo>
                  <a:lnTo>
                    <a:pt x="281" y="33"/>
                  </a:lnTo>
                  <a:lnTo>
                    <a:pt x="281" y="29"/>
                  </a:lnTo>
                  <a:lnTo>
                    <a:pt x="281" y="26"/>
                  </a:lnTo>
                  <a:lnTo>
                    <a:pt x="281" y="24"/>
                  </a:lnTo>
                  <a:lnTo>
                    <a:pt x="290" y="24"/>
                  </a:lnTo>
                  <a:lnTo>
                    <a:pt x="290" y="35"/>
                  </a:lnTo>
                  <a:lnTo>
                    <a:pt x="290" y="35"/>
                  </a:lnTo>
                  <a:lnTo>
                    <a:pt x="291" y="32"/>
                  </a:lnTo>
                  <a:lnTo>
                    <a:pt x="294" y="28"/>
                  </a:lnTo>
                  <a:lnTo>
                    <a:pt x="296" y="25"/>
                  </a:lnTo>
                  <a:lnTo>
                    <a:pt x="301" y="22"/>
                  </a:lnTo>
                  <a:lnTo>
                    <a:pt x="305" y="22"/>
                  </a:lnTo>
                  <a:close/>
                  <a:moveTo>
                    <a:pt x="255" y="6"/>
                  </a:moveTo>
                  <a:lnTo>
                    <a:pt x="255" y="24"/>
                  </a:lnTo>
                  <a:lnTo>
                    <a:pt x="269" y="24"/>
                  </a:lnTo>
                  <a:lnTo>
                    <a:pt x="269" y="31"/>
                  </a:lnTo>
                  <a:lnTo>
                    <a:pt x="255" y="31"/>
                  </a:lnTo>
                  <a:lnTo>
                    <a:pt x="255" y="69"/>
                  </a:lnTo>
                  <a:lnTo>
                    <a:pt x="255" y="73"/>
                  </a:lnTo>
                  <a:lnTo>
                    <a:pt x="255" y="76"/>
                  </a:lnTo>
                  <a:lnTo>
                    <a:pt x="258" y="77"/>
                  </a:lnTo>
                  <a:lnTo>
                    <a:pt x="259" y="79"/>
                  </a:lnTo>
                  <a:lnTo>
                    <a:pt x="263" y="80"/>
                  </a:lnTo>
                  <a:lnTo>
                    <a:pt x="266" y="79"/>
                  </a:lnTo>
                  <a:lnTo>
                    <a:pt x="270" y="77"/>
                  </a:lnTo>
                  <a:lnTo>
                    <a:pt x="270" y="84"/>
                  </a:lnTo>
                  <a:lnTo>
                    <a:pt x="268" y="86"/>
                  </a:lnTo>
                  <a:lnTo>
                    <a:pt x="265" y="86"/>
                  </a:lnTo>
                  <a:lnTo>
                    <a:pt x="261" y="86"/>
                  </a:lnTo>
                  <a:lnTo>
                    <a:pt x="257" y="86"/>
                  </a:lnTo>
                  <a:lnTo>
                    <a:pt x="252" y="84"/>
                  </a:lnTo>
                  <a:lnTo>
                    <a:pt x="250" y="81"/>
                  </a:lnTo>
                  <a:lnTo>
                    <a:pt x="248" y="79"/>
                  </a:lnTo>
                  <a:lnTo>
                    <a:pt x="247" y="75"/>
                  </a:lnTo>
                  <a:lnTo>
                    <a:pt x="247" y="70"/>
                  </a:lnTo>
                  <a:lnTo>
                    <a:pt x="247" y="65"/>
                  </a:lnTo>
                  <a:lnTo>
                    <a:pt x="247" y="31"/>
                  </a:lnTo>
                  <a:lnTo>
                    <a:pt x="236" y="31"/>
                  </a:lnTo>
                  <a:lnTo>
                    <a:pt x="236" y="24"/>
                  </a:lnTo>
                  <a:lnTo>
                    <a:pt x="247" y="24"/>
                  </a:lnTo>
                  <a:lnTo>
                    <a:pt x="247" y="9"/>
                  </a:lnTo>
                  <a:lnTo>
                    <a:pt x="255" y="6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4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8" y="84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46" y="84"/>
                  </a:lnTo>
                  <a:lnTo>
                    <a:pt x="39" y="84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207" y="0"/>
                  </a:moveTo>
                  <a:lnTo>
                    <a:pt x="211" y="0"/>
                  </a:lnTo>
                  <a:lnTo>
                    <a:pt x="217" y="0"/>
                  </a:lnTo>
                  <a:lnTo>
                    <a:pt x="224" y="3"/>
                  </a:lnTo>
                  <a:lnTo>
                    <a:pt x="222" y="10"/>
                  </a:lnTo>
                  <a:lnTo>
                    <a:pt x="217" y="9"/>
                  </a:lnTo>
                  <a:lnTo>
                    <a:pt x="213" y="7"/>
                  </a:lnTo>
                  <a:lnTo>
                    <a:pt x="207" y="7"/>
                  </a:lnTo>
                  <a:lnTo>
                    <a:pt x="203" y="7"/>
                  </a:lnTo>
                  <a:lnTo>
                    <a:pt x="199" y="9"/>
                  </a:lnTo>
                  <a:lnTo>
                    <a:pt x="196" y="10"/>
                  </a:lnTo>
                  <a:lnTo>
                    <a:pt x="193" y="11"/>
                  </a:lnTo>
                  <a:lnTo>
                    <a:pt x="191" y="14"/>
                  </a:lnTo>
                  <a:lnTo>
                    <a:pt x="189" y="17"/>
                  </a:lnTo>
                  <a:lnTo>
                    <a:pt x="189" y="21"/>
                  </a:lnTo>
                  <a:lnTo>
                    <a:pt x="192" y="28"/>
                  </a:lnTo>
                  <a:lnTo>
                    <a:pt x="199" y="33"/>
                  </a:lnTo>
                  <a:lnTo>
                    <a:pt x="207" y="39"/>
                  </a:lnTo>
                  <a:lnTo>
                    <a:pt x="217" y="44"/>
                  </a:lnTo>
                  <a:lnTo>
                    <a:pt x="224" y="53"/>
                  </a:lnTo>
                  <a:lnTo>
                    <a:pt x="226" y="62"/>
                  </a:lnTo>
                  <a:lnTo>
                    <a:pt x="224" y="73"/>
                  </a:lnTo>
                  <a:lnTo>
                    <a:pt x="218" y="80"/>
                  </a:lnTo>
                  <a:lnTo>
                    <a:pt x="209" y="84"/>
                  </a:lnTo>
                  <a:lnTo>
                    <a:pt x="199" y="86"/>
                  </a:lnTo>
                  <a:lnTo>
                    <a:pt x="192" y="86"/>
                  </a:lnTo>
                  <a:lnTo>
                    <a:pt x="185" y="84"/>
                  </a:lnTo>
                  <a:lnTo>
                    <a:pt x="181" y="83"/>
                  </a:lnTo>
                  <a:lnTo>
                    <a:pt x="181" y="73"/>
                  </a:lnTo>
                  <a:lnTo>
                    <a:pt x="187" y="76"/>
                  </a:lnTo>
                  <a:lnTo>
                    <a:pt x="192" y="79"/>
                  </a:lnTo>
                  <a:lnTo>
                    <a:pt x="200" y="79"/>
                  </a:lnTo>
                  <a:lnTo>
                    <a:pt x="204" y="79"/>
                  </a:lnTo>
                  <a:lnTo>
                    <a:pt x="209" y="77"/>
                  </a:lnTo>
                  <a:lnTo>
                    <a:pt x="213" y="75"/>
                  </a:lnTo>
                  <a:lnTo>
                    <a:pt x="215" y="72"/>
                  </a:lnTo>
                  <a:lnTo>
                    <a:pt x="218" y="68"/>
                  </a:lnTo>
                  <a:lnTo>
                    <a:pt x="218" y="62"/>
                  </a:lnTo>
                  <a:lnTo>
                    <a:pt x="215" y="54"/>
                  </a:lnTo>
                  <a:lnTo>
                    <a:pt x="209" y="48"/>
                  </a:lnTo>
                  <a:lnTo>
                    <a:pt x="199" y="44"/>
                  </a:lnTo>
                  <a:lnTo>
                    <a:pt x="191" y="37"/>
                  </a:lnTo>
                  <a:lnTo>
                    <a:pt x="184" y="31"/>
                  </a:lnTo>
                  <a:lnTo>
                    <a:pt x="181" y="21"/>
                  </a:lnTo>
                  <a:lnTo>
                    <a:pt x="182" y="13"/>
                  </a:lnTo>
                  <a:lnTo>
                    <a:pt x="188" y="6"/>
                  </a:lnTo>
                  <a:lnTo>
                    <a:pt x="196" y="2"/>
                  </a:lnTo>
                  <a:lnTo>
                    <a:pt x="207" y="0"/>
                  </a:lnTo>
                  <a:close/>
                  <a:moveTo>
                    <a:pt x="154" y="0"/>
                  </a:moveTo>
                  <a:lnTo>
                    <a:pt x="162" y="0"/>
                  </a:lnTo>
                  <a:lnTo>
                    <a:pt x="115" y="86"/>
                  </a:lnTo>
                  <a:lnTo>
                    <a:pt x="107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37"/>
            <p:cNvSpPr>
              <a:spLocks noEditPoints="1"/>
            </p:cNvSpPr>
            <p:nvPr userDrawn="1"/>
          </p:nvSpPr>
          <p:spPr bwMode="auto">
            <a:xfrm>
              <a:off x="2440439" y="6142701"/>
              <a:ext cx="785872" cy="91331"/>
            </a:xfrm>
            <a:custGeom>
              <a:avLst/>
              <a:gdLst>
                <a:gd name="T0" fmla="*/ 501 w 740"/>
                <a:gd name="T1" fmla="*/ 73 h 86"/>
                <a:gd name="T2" fmla="*/ 521 w 740"/>
                <a:gd name="T3" fmla="*/ 77 h 86"/>
                <a:gd name="T4" fmla="*/ 531 w 740"/>
                <a:gd name="T5" fmla="*/ 59 h 86"/>
                <a:gd name="T6" fmla="*/ 707 w 740"/>
                <a:gd name="T7" fmla="*/ 32 h 86"/>
                <a:gd name="T8" fmla="*/ 732 w 740"/>
                <a:gd name="T9" fmla="*/ 46 h 86"/>
                <a:gd name="T10" fmla="*/ 717 w 740"/>
                <a:gd name="T11" fmla="*/ 29 h 86"/>
                <a:gd name="T12" fmla="*/ 241 w 740"/>
                <a:gd name="T13" fmla="*/ 44 h 86"/>
                <a:gd name="T14" fmla="*/ 269 w 740"/>
                <a:gd name="T15" fmla="*/ 33 h 86"/>
                <a:gd name="T16" fmla="*/ 420 w 740"/>
                <a:gd name="T17" fmla="*/ 76 h 86"/>
                <a:gd name="T18" fmla="*/ 479 w 740"/>
                <a:gd name="T19" fmla="*/ 24 h 86"/>
                <a:gd name="T20" fmla="*/ 424 w 740"/>
                <a:gd name="T21" fmla="*/ 84 h 86"/>
                <a:gd name="T22" fmla="*/ 739 w 740"/>
                <a:gd name="T23" fmla="*/ 40 h 86"/>
                <a:gd name="T24" fmla="*/ 710 w 740"/>
                <a:gd name="T25" fmla="*/ 77 h 86"/>
                <a:gd name="T26" fmla="*/ 736 w 740"/>
                <a:gd name="T27" fmla="*/ 83 h 86"/>
                <a:gd name="T28" fmla="*/ 692 w 740"/>
                <a:gd name="T29" fmla="*/ 66 h 86"/>
                <a:gd name="T30" fmla="*/ 622 w 740"/>
                <a:gd name="T31" fmla="*/ 22 h 86"/>
                <a:gd name="T32" fmla="*/ 637 w 740"/>
                <a:gd name="T33" fmla="*/ 35 h 86"/>
                <a:gd name="T34" fmla="*/ 658 w 740"/>
                <a:gd name="T35" fmla="*/ 22 h 86"/>
                <a:gd name="T36" fmla="*/ 677 w 740"/>
                <a:gd name="T37" fmla="*/ 43 h 86"/>
                <a:gd name="T38" fmla="*/ 666 w 740"/>
                <a:gd name="T39" fmla="*/ 33 h 86"/>
                <a:gd name="T40" fmla="*/ 640 w 740"/>
                <a:gd name="T41" fmla="*/ 51 h 86"/>
                <a:gd name="T42" fmla="*/ 629 w 740"/>
                <a:gd name="T43" fmla="*/ 33 h 86"/>
                <a:gd name="T44" fmla="*/ 603 w 740"/>
                <a:gd name="T45" fmla="*/ 51 h 86"/>
                <a:gd name="T46" fmla="*/ 603 w 740"/>
                <a:gd name="T47" fmla="*/ 24 h 86"/>
                <a:gd name="T48" fmla="*/ 609 w 740"/>
                <a:gd name="T49" fmla="*/ 25 h 86"/>
                <a:gd name="T50" fmla="*/ 583 w 740"/>
                <a:gd name="T51" fmla="*/ 22 h 86"/>
                <a:gd name="T52" fmla="*/ 564 w 740"/>
                <a:gd name="T53" fmla="*/ 46 h 86"/>
                <a:gd name="T54" fmla="*/ 556 w 740"/>
                <a:gd name="T55" fmla="*/ 29 h 86"/>
                <a:gd name="T56" fmla="*/ 565 w 740"/>
                <a:gd name="T57" fmla="*/ 32 h 86"/>
                <a:gd name="T58" fmla="*/ 528 w 740"/>
                <a:gd name="T59" fmla="*/ 25 h 86"/>
                <a:gd name="T60" fmla="*/ 531 w 740"/>
                <a:gd name="T61" fmla="*/ 84 h 86"/>
                <a:gd name="T62" fmla="*/ 516 w 740"/>
                <a:gd name="T63" fmla="*/ 86 h 86"/>
                <a:gd name="T64" fmla="*/ 494 w 740"/>
                <a:gd name="T65" fmla="*/ 76 h 86"/>
                <a:gd name="T66" fmla="*/ 509 w 740"/>
                <a:gd name="T67" fmla="*/ 48 h 86"/>
                <a:gd name="T68" fmla="*/ 530 w 740"/>
                <a:gd name="T69" fmla="*/ 35 h 86"/>
                <a:gd name="T70" fmla="*/ 505 w 740"/>
                <a:gd name="T71" fmla="*/ 31 h 86"/>
                <a:gd name="T72" fmla="*/ 517 w 740"/>
                <a:gd name="T73" fmla="*/ 22 h 86"/>
                <a:gd name="T74" fmla="*/ 385 w 740"/>
                <a:gd name="T75" fmla="*/ 84 h 86"/>
                <a:gd name="T76" fmla="*/ 372 w 740"/>
                <a:gd name="T77" fmla="*/ 31 h 86"/>
                <a:gd name="T78" fmla="*/ 346 w 740"/>
                <a:gd name="T79" fmla="*/ 51 h 86"/>
                <a:gd name="T80" fmla="*/ 344 w 740"/>
                <a:gd name="T81" fmla="*/ 24 h 86"/>
                <a:gd name="T82" fmla="*/ 354 w 740"/>
                <a:gd name="T83" fmla="*/ 24 h 86"/>
                <a:gd name="T84" fmla="*/ 324 w 740"/>
                <a:gd name="T85" fmla="*/ 31 h 86"/>
                <a:gd name="T86" fmla="*/ 303 w 740"/>
                <a:gd name="T87" fmla="*/ 54 h 86"/>
                <a:gd name="T88" fmla="*/ 296 w 740"/>
                <a:gd name="T89" fmla="*/ 26 h 86"/>
                <a:gd name="T90" fmla="*/ 307 w 740"/>
                <a:gd name="T91" fmla="*/ 28 h 86"/>
                <a:gd name="T92" fmla="*/ 275 w 740"/>
                <a:gd name="T93" fmla="*/ 31 h 86"/>
                <a:gd name="T94" fmla="*/ 245 w 740"/>
                <a:gd name="T95" fmla="*/ 73 h 86"/>
                <a:gd name="T96" fmla="*/ 277 w 740"/>
                <a:gd name="T97" fmla="*/ 75 h 86"/>
                <a:gd name="T98" fmla="*/ 238 w 740"/>
                <a:gd name="T99" fmla="*/ 77 h 86"/>
                <a:gd name="T100" fmla="*/ 258 w 740"/>
                <a:gd name="T101" fmla="*/ 22 h 86"/>
                <a:gd name="T102" fmla="*/ 502 w 740"/>
                <a:gd name="T103" fmla="*/ 3 h 86"/>
                <a:gd name="T104" fmla="*/ 223 w 740"/>
                <a:gd name="T105" fmla="*/ 2 h 86"/>
                <a:gd name="T106" fmla="*/ 192 w 740"/>
                <a:gd name="T107" fmla="*/ 46 h 86"/>
                <a:gd name="T108" fmla="*/ 44 w 740"/>
                <a:gd name="T109" fmla="*/ 75 h 86"/>
                <a:gd name="T110" fmla="*/ 77 w 740"/>
                <a:gd name="T111" fmla="*/ 10 h 86"/>
                <a:gd name="T112" fmla="*/ 0 w 740"/>
                <a:gd name="T113" fmla="*/ 84 h 86"/>
                <a:gd name="T114" fmla="*/ 154 w 740"/>
                <a:gd name="T1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0" h="86">
                  <a:moveTo>
                    <a:pt x="528" y="54"/>
                  </a:moveTo>
                  <a:lnTo>
                    <a:pt x="519" y="54"/>
                  </a:lnTo>
                  <a:lnTo>
                    <a:pt x="509" y="57"/>
                  </a:lnTo>
                  <a:lnTo>
                    <a:pt x="502" y="61"/>
                  </a:lnTo>
                  <a:lnTo>
                    <a:pt x="499" y="69"/>
                  </a:lnTo>
                  <a:lnTo>
                    <a:pt x="501" y="73"/>
                  </a:lnTo>
                  <a:lnTo>
                    <a:pt x="502" y="76"/>
                  </a:lnTo>
                  <a:lnTo>
                    <a:pt x="505" y="77"/>
                  </a:lnTo>
                  <a:lnTo>
                    <a:pt x="509" y="79"/>
                  </a:lnTo>
                  <a:lnTo>
                    <a:pt x="513" y="80"/>
                  </a:lnTo>
                  <a:lnTo>
                    <a:pt x="517" y="79"/>
                  </a:lnTo>
                  <a:lnTo>
                    <a:pt x="521" y="77"/>
                  </a:lnTo>
                  <a:lnTo>
                    <a:pt x="526" y="75"/>
                  </a:lnTo>
                  <a:lnTo>
                    <a:pt x="527" y="72"/>
                  </a:lnTo>
                  <a:lnTo>
                    <a:pt x="528" y="69"/>
                  </a:lnTo>
                  <a:lnTo>
                    <a:pt x="530" y="66"/>
                  </a:lnTo>
                  <a:lnTo>
                    <a:pt x="530" y="64"/>
                  </a:lnTo>
                  <a:lnTo>
                    <a:pt x="531" y="59"/>
                  </a:lnTo>
                  <a:lnTo>
                    <a:pt x="531" y="58"/>
                  </a:lnTo>
                  <a:lnTo>
                    <a:pt x="531" y="54"/>
                  </a:lnTo>
                  <a:lnTo>
                    <a:pt x="528" y="54"/>
                  </a:lnTo>
                  <a:close/>
                  <a:moveTo>
                    <a:pt x="717" y="29"/>
                  </a:moveTo>
                  <a:lnTo>
                    <a:pt x="711" y="29"/>
                  </a:lnTo>
                  <a:lnTo>
                    <a:pt x="707" y="32"/>
                  </a:lnTo>
                  <a:lnTo>
                    <a:pt x="703" y="35"/>
                  </a:lnTo>
                  <a:lnTo>
                    <a:pt x="700" y="40"/>
                  </a:lnTo>
                  <a:lnTo>
                    <a:pt x="699" y="44"/>
                  </a:lnTo>
                  <a:lnTo>
                    <a:pt x="699" y="50"/>
                  </a:lnTo>
                  <a:lnTo>
                    <a:pt x="732" y="50"/>
                  </a:lnTo>
                  <a:lnTo>
                    <a:pt x="732" y="46"/>
                  </a:lnTo>
                  <a:lnTo>
                    <a:pt x="730" y="42"/>
                  </a:lnTo>
                  <a:lnTo>
                    <a:pt x="729" y="37"/>
                  </a:lnTo>
                  <a:lnTo>
                    <a:pt x="728" y="33"/>
                  </a:lnTo>
                  <a:lnTo>
                    <a:pt x="724" y="31"/>
                  </a:lnTo>
                  <a:lnTo>
                    <a:pt x="721" y="29"/>
                  </a:lnTo>
                  <a:lnTo>
                    <a:pt x="717" y="29"/>
                  </a:lnTo>
                  <a:close/>
                  <a:moveTo>
                    <a:pt x="258" y="29"/>
                  </a:moveTo>
                  <a:lnTo>
                    <a:pt x="252" y="29"/>
                  </a:lnTo>
                  <a:lnTo>
                    <a:pt x="248" y="32"/>
                  </a:lnTo>
                  <a:lnTo>
                    <a:pt x="245" y="35"/>
                  </a:lnTo>
                  <a:lnTo>
                    <a:pt x="242" y="40"/>
                  </a:lnTo>
                  <a:lnTo>
                    <a:pt x="241" y="44"/>
                  </a:lnTo>
                  <a:lnTo>
                    <a:pt x="240" y="50"/>
                  </a:lnTo>
                  <a:lnTo>
                    <a:pt x="273" y="50"/>
                  </a:lnTo>
                  <a:lnTo>
                    <a:pt x="273" y="46"/>
                  </a:lnTo>
                  <a:lnTo>
                    <a:pt x="273" y="42"/>
                  </a:lnTo>
                  <a:lnTo>
                    <a:pt x="271" y="37"/>
                  </a:lnTo>
                  <a:lnTo>
                    <a:pt x="269" y="33"/>
                  </a:lnTo>
                  <a:lnTo>
                    <a:pt x="266" y="31"/>
                  </a:lnTo>
                  <a:lnTo>
                    <a:pt x="262" y="29"/>
                  </a:lnTo>
                  <a:lnTo>
                    <a:pt x="258" y="29"/>
                  </a:lnTo>
                  <a:close/>
                  <a:moveTo>
                    <a:pt x="395" y="24"/>
                  </a:moveTo>
                  <a:lnTo>
                    <a:pt x="403" y="24"/>
                  </a:lnTo>
                  <a:lnTo>
                    <a:pt x="420" y="76"/>
                  </a:lnTo>
                  <a:lnTo>
                    <a:pt x="420" y="76"/>
                  </a:lnTo>
                  <a:lnTo>
                    <a:pt x="436" y="24"/>
                  </a:lnTo>
                  <a:lnTo>
                    <a:pt x="446" y="24"/>
                  </a:lnTo>
                  <a:lnTo>
                    <a:pt x="461" y="76"/>
                  </a:lnTo>
                  <a:lnTo>
                    <a:pt x="462" y="76"/>
                  </a:lnTo>
                  <a:lnTo>
                    <a:pt x="479" y="24"/>
                  </a:lnTo>
                  <a:lnTo>
                    <a:pt x="486" y="24"/>
                  </a:lnTo>
                  <a:lnTo>
                    <a:pt x="466" y="84"/>
                  </a:lnTo>
                  <a:lnTo>
                    <a:pt x="457" y="84"/>
                  </a:lnTo>
                  <a:lnTo>
                    <a:pt x="440" y="32"/>
                  </a:lnTo>
                  <a:lnTo>
                    <a:pt x="440" y="32"/>
                  </a:lnTo>
                  <a:lnTo>
                    <a:pt x="424" y="84"/>
                  </a:lnTo>
                  <a:lnTo>
                    <a:pt x="414" y="84"/>
                  </a:lnTo>
                  <a:lnTo>
                    <a:pt x="395" y="24"/>
                  </a:lnTo>
                  <a:close/>
                  <a:moveTo>
                    <a:pt x="715" y="22"/>
                  </a:moveTo>
                  <a:lnTo>
                    <a:pt x="726" y="25"/>
                  </a:lnTo>
                  <a:lnTo>
                    <a:pt x="734" y="31"/>
                  </a:lnTo>
                  <a:lnTo>
                    <a:pt x="739" y="40"/>
                  </a:lnTo>
                  <a:lnTo>
                    <a:pt x="740" y="53"/>
                  </a:lnTo>
                  <a:lnTo>
                    <a:pt x="740" y="57"/>
                  </a:lnTo>
                  <a:lnTo>
                    <a:pt x="699" y="57"/>
                  </a:lnTo>
                  <a:lnTo>
                    <a:pt x="700" y="65"/>
                  </a:lnTo>
                  <a:lnTo>
                    <a:pt x="703" y="73"/>
                  </a:lnTo>
                  <a:lnTo>
                    <a:pt x="710" y="77"/>
                  </a:lnTo>
                  <a:lnTo>
                    <a:pt x="718" y="80"/>
                  </a:lnTo>
                  <a:lnTo>
                    <a:pt x="722" y="79"/>
                  </a:lnTo>
                  <a:lnTo>
                    <a:pt x="728" y="77"/>
                  </a:lnTo>
                  <a:lnTo>
                    <a:pt x="732" y="76"/>
                  </a:lnTo>
                  <a:lnTo>
                    <a:pt x="736" y="75"/>
                  </a:lnTo>
                  <a:lnTo>
                    <a:pt x="736" y="83"/>
                  </a:lnTo>
                  <a:lnTo>
                    <a:pt x="729" y="84"/>
                  </a:lnTo>
                  <a:lnTo>
                    <a:pt x="724" y="86"/>
                  </a:lnTo>
                  <a:lnTo>
                    <a:pt x="718" y="86"/>
                  </a:lnTo>
                  <a:lnTo>
                    <a:pt x="704" y="83"/>
                  </a:lnTo>
                  <a:lnTo>
                    <a:pt x="696" y="77"/>
                  </a:lnTo>
                  <a:lnTo>
                    <a:pt x="692" y="66"/>
                  </a:lnTo>
                  <a:lnTo>
                    <a:pt x="691" y="54"/>
                  </a:lnTo>
                  <a:lnTo>
                    <a:pt x="692" y="42"/>
                  </a:lnTo>
                  <a:lnTo>
                    <a:pt x="697" y="31"/>
                  </a:lnTo>
                  <a:lnTo>
                    <a:pt x="706" y="25"/>
                  </a:lnTo>
                  <a:lnTo>
                    <a:pt x="715" y="22"/>
                  </a:lnTo>
                  <a:close/>
                  <a:moveTo>
                    <a:pt x="622" y="22"/>
                  </a:moveTo>
                  <a:lnTo>
                    <a:pt x="625" y="22"/>
                  </a:lnTo>
                  <a:lnTo>
                    <a:pt x="627" y="24"/>
                  </a:lnTo>
                  <a:lnTo>
                    <a:pt x="631" y="25"/>
                  </a:lnTo>
                  <a:lnTo>
                    <a:pt x="634" y="26"/>
                  </a:lnTo>
                  <a:lnTo>
                    <a:pt x="636" y="31"/>
                  </a:lnTo>
                  <a:lnTo>
                    <a:pt x="637" y="35"/>
                  </a:lnTo>
                  <a:lnTo>
                    <a:pt x="638" y="35"/>
                  </a:lnTo>
                  <a:lnTo>
                    <a:pt x="640" y="31"/>
                  </a:lnTo>
                  <a:lnTo>
                    <a:pt x="642" y="28"/>
                  </a:lnTo>
                  <a:lnTo>
                    <a:pt x="647" y="25"/>
                  </a:lnTo>
                  <a:lnTo>
                    <a:pt x="652" y="22"/>
                  </a:lnTo>
                  <a:lnTo>
                    <a:pt x="658" y="22"/>
                  </a:lnTo>
                  <a:lnTo>
                    <a:pt x="663" y="22"/>
                  </a:lnTo>
                  <a:lnTo>
                    <a:pt x="667" y="25"/>
                  </a:lnTo>
                  <a:lnTo>
                    <a:pt x="671" y="28"/>
                  </a:lnTo>
                  <a:lnTo>
                    <a:pt x="674" y="32"/>
                  </a:lnTo>
                  <a:lnTo>
                    <a:pt x="675" y="37"/>
                  </a:lnTo>
                  <a:lnTo>
                    <a:pt x="677" y="43"/>
                  </a:lnTo>
                  <a:lnTo>
                    <a:pt x="677" y="84"/>
                  </a:lnTo>
                  <a:lnTo>
                    <a:pt x="669" y="84"/>
                  </a:lnTo>
                  <a:lnTo>
                    <a:pt x="669" y="44"/>
                  </a:lnTo>
                  <a:lnTo>
                    <a:pt x="669" y="40"/>
                  </a:lnTo>
                  <a:lnTo>
                    <a:pt x="667" y="36"/>
                  </a:lnTo>
                  <a:lnTo>
                    <a:pt x="666" y="33"/>
                  </a:lnTo>
                  <a:lnTo>
                    <a:pt x="663" y="31"/>
                  </a:lnTo>
                  <a:lnTo>
                    <a:pt x="660" y="29"/>
                  </a:lnTo>
                  <a:lnTo>
                    <a:pt x="656" y="29"/>
                  </a:lnTo>
                  <a:lnTo>
                    <a:pt x="648" y="31"/>
                  </a:lnTo>
                  <a:lnTo>
                    <a:pt x="642" y="39"/>
                  </a:lnTo>
                  <a:lnTo>
                    <a:pt x="640" y="51"/>
                  </a:lnTo>
                  <a:lnTo>
                    <a:pt x="640" y="84"/>
                  </a:lnTo>
                  <a:lnTo>
                    <a:pt x="633" y="84"/>
                  </a:lnTo>
                  <a:lnTo>
                    <a:pt x="633" y="44"/>
                  </a:lnTo>
                  <a:lnTo>
                    <a:pt x="631" y="40"/>
                  </a:lnTo>
                  <a:lnTo>
                    <a:pt x="631" y="36"/>
                  </a:lnTo>
                  <a:lnTo>
                    <a:pt x="629" y="33"/>
                  </a:lnTo>
                  <a:lnTo>
                    <a:pt x="627" y="31"/>
                  </a:lnTo>
                  <a:lnTo>
                    <a:pt x="623" y="29"/>
                  </a:lnTo>
                  <a:lnTo>
                    <a:pt x="619" y="29"/>
                  </a:lnTo>
                  <a:lnTo>
                    <a:pt x="611" y="31"/>
                  </a:lnTo>
                  <a:lnTo>
                    <a:pt x="605" y="39"/>
                  </a:lnTo>
                  <a:lnTo>
                    <a:pt x="603" y="51"/>
                  </a:lnTo>
                  <a:lnTo>
                    <a:pt x="603" y="84"/>
                  </a:lnTo>
                  <a:lnTo>
                    <a:pt x="596" y="84"/>
                  </a:lnTo>
                  <a:lnTo>
                    <a:pt x="596" y="37"/>
                  </a:lnTo>
                  <a:lnTo>
                    <a:pt x="596" y="31"/>
                  </a:lnTo>
                  <a:lnTo>
                    <a:pt x="596" y="24"/>
                  </a:lnTo>
                  <a:lnTo>
                    <a:pt x="603" y="24"/>
                  </a:lnTo>
                  <a:lnTo>
                    <a:pt x="603" y="33"/>
                  </a:lnTo>
                  <a:lnTo>
                    <a:pt x="603" y="35"/>
                  </a:lnTo>
                  <a:lnTo>
                    <a:pt x="604" y="32"/>
                  </a:lnTo>
                  <a:lnTo>
                    <a:pt x="605" y="31"/>
                  </a:lnTo>
                  <a:lnTo>
                    <a:pt x="607" y="28"/>
                  </a:lnTo>
                  <a:lnTo>
                    <a:pt x="609" y="25"/>
                  </a:lnTo>
                  <a:lnTo>
                    <a:pt x="612" y="24"/>
                  </a:lnTo>
                  <a:lnTo>
                    <a:pt x="616" y="22"/>
                  </a:lnTo>
                  <a:lnTo>
                    <a:pt x="622" y="22"/>
                  </a:lnTo>
                  <a:close/>
                  <a:moveTo>
                    <a:pt x="579" y="22"/>
                  </a:moveTo>
                  <a:lnTo>
                    <a:pt x="582" y="22"/>
                  </a:lnTo>
                  <a:lnTo>
                    <a:pt x="583" y="22"/>
                  </a:lnTo>
                  <a:lnTo>
                    <a:pt x="583" y="31"/>
                  </a:lnTo>
                  <a:lnTo>
                    <a:pt x="582" y="31"/>
                  </a:lnTo>
                  <a:lnTo>
                    <a:pt x="578" y="31"/>
                  </a:lnTo>
                  <a:lnTo>
                    <a:pt x="571" y="32"/>
                  </a:lnTo>
                  <a:lnTo>
                    <a:pt x="567" y="39"/>
                  </a:lnTo>
                  <a:lnTo>
                    <a:pt x="564" y="46"/>
                  </a:lnTo>
                  <a:lnTo>
                    <a:pt x="563" y="54"/>
                  </a:lnTo>
                  <a:lnTo>
                    <a:pt x="563" y="84"/>
                  </a:lnTo>
                  <a:lnTo>
                    <a:pt x="556" y="84"/>
                  </a:lnTo>
                  <a:lnTo>
                    <a:pt x="556" y="37"/>
                  </a:lnTo>
                  <a:lnTo>
                    <a:pt x="556" y="33"/>
                  </a:lnTo>
                  <a:lnTo>
                    <a:pt x="556" y="29"/>
                  </a:lnTo>
                  <a:lnTo>
                    <a:pt x="556" y="26"/>
                  </a:lnTo>
                  <a:lnTo>
                    <a:pt x="556" y="24"/>
                  </a:lnTo>
                  <a:lnTo>
                    <a:pt x="563" y="24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5" y="32"/>
                  </a:lnTo>
                  <a:lnTo>
                    <a:pt x="568" y="28"/>
                  </a:lnTo>
                  <a:lnTo>
                    <a:pt x="571" y="25"/>
                  </a:lnTo>
                  <a:lnTo>
                    <a:pt x="575" y="22"/>
                  </a:lnTo>
                  <a:lnTo>
                    <a:pt x="579" y="22"/>
                  </a:lnTo>
                  <a:close/>
                  <a:moveTo>
                    <a:pt x="517" y="22"/>
                  </a:moveTo>
                  <a:lnTo>
                    <a:pt x="528" y="25"/>
                  </a:lnTo>
                  <a:lnTo>
                    <a:pt x="535" y="32"/>
                  </a:lnTo>
                  <a:lnTo>
                    <a:pt x="538" y="44"/>
                  </a:lnTo>
                  <a:lnTo>
                    <a:pt x="538" y="72"/>
                  </a:lnTo>
                  <a:lnTo>
                    <a:pt x="538" y="79"/>
                  </a:lnTo>
                  <a:lnTo>
                    <a:pt x="538" y="84"/>
                  </a:lnTo>
                  <a:lnTo>
                    <a:pt x="531" y="84"/>
                  </a:lnTo>
                  <a:lnTo>
                    <a:pt x="531" y="75"/>
                  </a:lnTo>
                  <a:lnTo>
                    <a:pt x="531" y="75"/>
                  </a:lnTo>
                  <a:lnTo>
                    <a:pt x="528" y="79"/>
                  </a:lnTo>
                  <a:lnTo>
                    <a:pt x="526" y="81"/>
                  </a:lnTo>
                  <a:lnTo>
                    <a:pt x="521" y="84"/>
                  </a:lnTo>
                  <a:lnTo>
                    <a:pt x="516" y="86"/>
                  </a:lnTo>
                  <a:lnTo>
                    <a:pt x="512" y="86"/>
                  </a:lnTo>
                  <a:lnTo>
                    <a:pt x="506" y="86"/>
                  </a:lnTo>
                  <a:lnTo>
                    <a:pt x="501" y="84"/>
                  </a:lnTo>
                  <a:lnTo>
                    <a:pt x="498" y="81"/>
                  </a:lnTo>
                  <a:lnTo>
                    <a:pt x="495" y="79"/>
                  </a:lnTo>
                  <a:lnTo>
                    <a:pt x="494" y="76"/>
                  </a:lnTo>
                  <a:lnTo>
                    <a:pt x="493" y="73"/>
                  </a:lnTo>
                  <a:lnTo>
                    <a:pt x="491" y="70"/>
                  </a:lnTo>
                  <a:lnTo>
                    <a:pt x="491" y="69"/>
                  </a:lnTo>
                  <a:lnTo>
                    <a:pt x="494" y="58"/>
                  </a:lnTo>
                  <a:lnTo>
                    <a:pt x="501" y="53"/>
                  </a:lnTo>
                  <a:lnTo>
                    <a:pt x="509" y="48"/>
                  </a:lnTo>
                  <a:lnTo>
                    <a:pt x="519" y="47"/>
                  </a:lnTo>
                  <a:lnTo>
                    <a:pt x="530" y="47"/>
                  </a:lnTo>
                  <a:lnTo>
                    <a:pt x="531" y="47"/>
                  </a:lnTo>
                  <a:lnTo>
                    <a:pt x="531" y="44"/>
                  </a:lnTo>
                  <a:lnTo>
                    <a:pt x="530" y="40"/>
                  </a:lnTo>
                  <a:lnTo>
                    <a:pt x="530" y="35"/>
                  </a:lnTo>
                  <a:lnTo>
                    <a:pt x="527" y="32"/>
                  </a:lnTo>
                  <a:lnTo>
                    <a:pt x="524" y="31"/>
                  </a:lnTo>
                  <a:lnTo>
                    <a:pt x="521" y="29"/>
                  </a:lnTo>
                  <a:lnTo>
                    <a:pt x="517" y="29"/>
                  </a:lnTo>
                  <a:lnTo>
                    <a:pt x="510" y="29"/>
                  </a:lnTo>
                  <a:lnTo>
                    <a:pt x="505" y="31"/>
                  </a:lnTo>
                  <a:lnTo>
                    <a:pt x="499" y="33"/>
                  </a:lnTo>
                  <a:lnTo>
                    <a:pt x="499" y="26"/>
                  </a:lnTo>
                  <a:lnTo>
                    <a:pt x="502" y="25"/>
                  </a:lnTo>
                  <a:lnTo>
                    <a:pt x="508" y="24"/>
                  </a:lnTo>
                  <a:lnTo>
                    <a:pt x="512" y="22"/>
                  </a:lnTo>
                  <a:lnTo>
                    <a:pt x="517" y="22"/>
                  </a:lnTo>
                  <a:close/>
                  <a:moveTo>
                    <a:pt x="365" y="22"/>
                  </a:moveTo>
                  <a:lnTo>
                    <a:pt x="374" y="24"/>
                  </a:lnTo>
                  <a:lnTo>
                    <a:pt x="380" y="29"/>
                  </a:lnTo>
                  <a:lnTo>
                    <a:pt x="384" y="36"/>
                  </a:lnTo>
                  <a:lnTo>
                    <a:pt x="385" y="46"/>
                  </a:lnTo>
                  <a:lnTo>
                    <a:pt x="385" y="84"/>
                  </a:lnTo>
                  <a:lnTo>
                    <a:pt x="377" y="84"/>
                  </a:lnTo>
                  <a:lnTo>
                    <a:pt x="377" y="47"/>
                  </a:lnTo>
                  <a:lnTo>
                    <a:pt x="377" y="42"/>
                  </a:lnTo>
                  <a:lnTo>
                    <a:pt x="376" y="37"/>
                  </a:lnTo>
                  <a:lnTo>
                    <a:pt x="374" y="33"/>
                  </a:lnTo>
                  <a:lnTo>
                    <a:pt x="372" y="31"/>
                  </a:lnTo>
                  <a:lnTo>
                    <a:pt x="367" y="29"/>
                  </a:lnTo>
                  <a:lnTo>
                    <a:pt x="363" y="29"/>
                  </a:lnTo>
                  <a:lnTo>
                    <a:pt x="355" y="31"/>
                  </a:lnTo>
                  <a:lnTo>
                    <a:pt x="350" y="35"/>
                  </a:lnTo>
                  <a:lnTo>
                    <a:pt x="346" y="43"/>
                  </a:lnTo>
                  <a:lnTo>
                    <a:pt x="346" y="51"/>
                  </a:lnTo>
                  <a:lnTo>
                    <a:pt x="346" y="84"/>
                  </a:lnTo>
                  <a:lnTo>
                    <a:pt x="337" y="84"/>
                  </a:lnTo>
                  <a:lnTo>
                    <a:pt x="337" y="37"/>
                  </a:lnTo>
                  <a:lnTo>
                    <a:pt x="337" y="31"/>
                  </a:lnTo>
                  <a:lnTo>
                    <a:pt x="337" y="24"/>
                  </a:lnTo>
                  <a:lnTo>
                    <a:pt x="344" y="24"/>
                  </a:lnTo>
                  <a:lnTo>
                    <a:pt x="344" y="35"/>
                  </a:lnTo>
                  <a:lnTo>
                    <a:pt x="344" y="35"/>
                  </a:lnTo>
                  <a:lnTo>
                    <a:pt x="346" y="32"/>
                  </a:lnTo>
                  <a:lnTo>
                    <a:pt x="348" y="29"/>
                  </a:lnTo>
                  <a:lnTo>
                    <a:pt x="351" y="26"/>
                  </a:lnTo>
                  <a:lnTo>
                    <a:pt x="354" y="24"/>
                  </a:lnTo>
                  <a:lnTo>
                    <a:pt x="359" y="22"/>
                  </a:lnTo>
                  <a:lnTo>
                    <a:pt x="365" y="22"/>
                  </a:lnTo>
                  <a:close/>
                  <a:moveTo>
                    <a:pt x="318" y="22"/>
                  </a:moveTo>
                  <a:lnTo>
                    <a:pt x="322" y="22"/>
                  </a:lnTo>
                  <a:lnTo>
                    <a:pt x="324" y="22"/>
                  </a:lnTo>
                  <a:lnTo>
                    <a:pt x="324" y="31"/>
                  </a:lnTo>
                  <a:lnTo>
                    <a:pt x="321" y="31"/>
                  </a:lnTo>
                  <a:lnTo>
                    <a:pt x="318" y="31"/>
                  </a:lnTo>
                  <a:lnTo>
                    <a:pt x="311" y="32"/>
                  </a:lnTo>
                  <a:lnTo>
                    <a:pt x="307" y="39"/>
                  </a:lnTo>
                  <a:lnTo>
                    <a:pt x="304" y="46"/>
                  </a:lnTo>
                  <a:lnTo>
                    <a:pt x="303" y="54"/>
                  </a:lnTo>
                  <a:lnTo>
                    <a:pt x="303" y="84"/>
                  </a:lnTo>
                  <a:lnTo>
                    <a:pt x="296" y="84"/>
                  </a:lnTo>
                  <a:lnTo>
                    <a:pt x="296" y="37"/>
                  </a:lnTo>
                  <a:lnTo>
                    <a:pt x="296" y="33"/>
                  </a:lnTo>
                  <a:lnTo>
                    <a:pt x="296" y="29"/>
                  </a:lnTo>
                  <a:lnTo>
                    <a:pt x="296" y="26"/>
                  </a:lnTo>
                  <a:lnTo>
                    <a:pt x="296" y="24"/>
                  </a:lnTo>
                  <a:lnTo>
                    <a:pt x="303" y="24"/>
                  </a:lnTo>
                  <a:lnTo>
                    <a:pt x="303" y="35"/>
                  </a:lnTo>
                  <a:lnTo>
                    <a:pt x="303" y="35"/>
                  </a:lnTo>
                  <a:lnTo>
                    <a:pt x="306" y="32"/>
                  </a:lnTo>
                  <a:lnTo>
                    <a:pt x="307" y="28"/>
                  </a:lnTo>
                  <a:lnTo>
                    <a:pt x="311" y="25"/>
                  </a:lnTo>
                  <a:lnTo>
                    <a:pt x="314" y="22"/>
                  </a:lnTo>
                  <a:lnTo>
                    <a:pt x="318" y="22"/>
                  </a:lnTo>
                  <a:close/>
                  <a:moveTo>
                    <a:pt x="258" y="22"/>
                  </a:moveTo>
                  <a:lnTo>
                    <a:pt x="269" y="25"/>
                  </a:lnTo>
                  <a:lnTo>
                    <a:pt x="275" y="31"/>
                  </a:lnTo>
                  <a:lnTo>
                    <a:pt x="280" y="40"/>
                  </a:lnTo>
                  <a:lnTo>
                    <a:pt x="281" y="53"/>
                  </a:lnTo>
                  <a:lnTo>
                    <a:pt x="281" y="57"/>
                  </a:lnTo>
                  <a:lnTo>
                    <a:pt x="240" y="57"/>
                  </a:lnTo>
                  <a:lnTo>
                    <a:pt x="241" y="65"/>
                  </a:lnTo>
                  <a:lnTo>
                    <a:pt x="245" y="73"/>
                  </a:lnTo>
                  <a:lnTo>
                    <a:pt x="252" y="77"/>
                  </a:lnTo>
                  <a:lnTo>
                    <a:pt x="260" y="80"/>
                  </a:lnTo>
                  <a:lnTo>
                    <a:pt x="264" y="79"/>
                  </a:lnTo>
                  <a:lnTo>
                    <a:pt x="270" y="77"/>
                  </a:lnTo>
                  <a:lnTo>
                    <a:pt x="274" y="76"/>
                  </a:lnTo>
                  <a:lnTo>
                    <a:pt x="277" y="75"/>
                  </a:lnTo>
                  <a:lnTo>
                    <a:pt x="277" y="83"/>
                  </a:lnTo>
                  <a:lnTo>
                    <a:pt x="271" y="84"/>
                  </a:lnTo>
                  <a:lnTo>
                    <a:pt x="266" y="86"/>
                  </a:lnTo>
                  <a:lnTo>
                    <a:pt x="259" y="86"/>
                  </a:lnTo>
                  <a:lnTo>
                    <a:pt x="247" y="83"/>
                  </a:lnTo>
                  <a:lnTo>
                    <a:pt x="238" y="77"/>
                  </a:lnTo>
                  <a:lnTo>
                    <a:pt x="233" y="66"/>
                  </a:lnTo>
                  <a:lnTo>
                    <a:pt x="231" y="54"/>
                  </a:lnTo>
                  <a:lnTo>
                    <a:pt x="234" y="42"/>
                  </a:lnTo>
                  <a:lnTo>
                    <a:pt x="238" y="31"/>
                  </a:lnTo>
                  <a:lnTo>
                    <a:pt x="247" y="25"/>
                  </a:lnTo>
                  <a:lnTo>
                    <a:pt x="258" y="22"/>
                  </a:lnTo>
                  <a:close/>
                  <a:moveTo>
                    <a:pt x="523" y="3"/>
                  </a:moveTo>
                  <a:lnTo>
                    <a:pt x="531" y="3"/>
                  </a:lnTo>
                  <a:lnTo>
                    <a:pt x="531" y="14"/>
                  </a:lnTo>
                  <a:lnTo>
                    <a:pt x="523" y="14"/>
                  </a:lnTo>
                  <a:lnTo>
                    <a:pt x="523" y="3"/>
                  </a:lnTo>
                  <a:close/>
                  <a:moveTo>
                    <a:pt x="502" y="3"/>
                  </a:moveTo>
                  <a:lnTo>
                    <a:pt x="510" y="3"/>
                  </a:lnTo>
                  <a:lnTo>
                    <a:pt x="510" y="14"/>
                  </a:lnTo>
                  <a:lnTo>
                    <a:pt x="502" y="14"/>
                  </a:lnTo>
                  <a:lnTo>
                    <a:pt x="502" y="3"/>
                  </a:lnTo>
                  <a:close/>
                  <a:moveTo>
                    <a:pt x="183" y="2"/>
                  </a:moveTo>
                  <a:lnTo>
                    <a:pt x="223" y="2"/>
                  </a:lnTo>
                  <a:lnTo>
                    <a:pt x="223" y="9"/>
                  </a:lnTo>
                  <a:lnTo>
                    <a:pt x="192" y="9"/>
                  </a:lnTo>
                  <a:lnTo>
                    <a:pt x="192" y="37"/>
                  </a:lnTo>
                  <a:lnTo>
                    <a:pt x="222" y="37"/>
                  </a:lnTo>
                  <a:lnTo>
                    <a:pt x="222" y="46"/>
                  </a:lnTo>
                  <a:lnTo>
                    <a:pt x="192" y="46"/>
                  </a:lnTo>
                  <a:lnTo>
                    <a:pt x="192" y="84"/>
                  </a:lnTo>
                  <a:lnTo>
                    <a:pt x="183" y="84"/>
                  </a:lnTo>
                  <a:lnTo>
                    <a:pt x="183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38"/>
            <p:cNvSpPr>
              <a:spLocks noEditPoints="1"/>
            </p:cNvSpPr>
            <p:nvPr userDrawn="1"/>
          </p:nvSpPr>
          <p:spPr bwMode="auto">
            <a:xfrm>
              <a:off x="3408972" y="6137391"/>
              <a:ext cx="534181" cy="122129"/>
            </a:xfrm>
            <a:custGeom>
              <a:avLst/>
              <a:gdLst>
                <a:gd name="T0" fmla="*/ 415 w 503"/>
                <a:gd name="T1" fmla="*/ 74 h 115"/>
                <a:gd name="T2" fmla="*/ 427 w 503"/>
                <a:gd name="T3" fmla="*/ 85 h 115"/>
                <a:gd name="T4" fmla="*/ 444 w 503"/>
                <a:gd name="T5" fmla="*/ 74 h 115"/>
                <a:gd name="T6" fmla="*/ 445 w 503"/>
                <a:gd name="T7" fmla="*/ 59 h 115"/>
                <a:gd name="T8" fmla="*/ 350 w 503"/>
                <a:gd name="T9" fmla="*/ 51 h 115"/>
                <a:gd name="T10" fmla="*/ 367 w 503"/>
                <a:gd name="T11" fmla="*/ 82 h 115"/>
                <a:gd name="T12" fmla="*/ 385 w 503"/>
                <a:gd name="T13" fmla="*/ 49 h 115"/>
                <a:gd name="T14" fmla="*/ 293 w 503"/>
                <a:gd name="T15" fmla="*/ 36 h 115"/>
                <a:gd name="T16" fmla="*/ 287 w 503"/>
                <a:gd name="T17" fmla="*/ 77 h 115"/>
                <a:gd name="T18" fmla="*/ 319 w 503"/>
                <a:gd name="T19" fmla="*/ 67 h 115"/>
                <a:gd name="T20" fmla="*/ 301 w 503"/>
                <a:gd name="T21" fmla="*/ 34 h 115"/>
                <a:gd name="T22" fmla="*/ 500 w 503"/>
                <a:gd name="T23" fmla="*/ 37 h 115"/>
                <a:gd name="T24" fmla="*/ 478 w 503"/>
                <a:gd name="T25" fmla="*/ 36 h 115"/>
                <a:gd name="T26" fmla="*/ 481 w 503"/>
                <a:gd name="T27" fmla="*/ 52 h 115"/>
                <a:gd name="T28" fmla="*/ 503 w 503"/>
                <a:gd name="T29" fmla="*/ 78 h 115"/>
                <a:gd name="T30" fmla="*/ 486 w 503"/>
                <a:gd name="T31" fmla="*/ 91 h 115"/>
                <a:gd name="T32" fmla="*/ 466 w 503"/>
                <a:gd name="T33" fmla="*/ 81 h 115"/>
                <a:gd name="T34" fmla="*/ 489 w 503"/>
                <a:gd name="T35" fmla="*/ 82 h 115"/>
                <a:gd name="T36" fmla="*/ 488 w 503"/>
                <a:gd name="T37" fmla="*/ 63 h 115"/>
                <a:gd name="T38" fmla="*/ 467 w 503"/>
                <a:gd name="T39" fmla="*/ 40 h 115"/>
                <a:gd name="T40" fmla="*/ 482 w 503"/>
                <a:gd name="T41" fmla="*/ 27 h 115"/>
                <a:gd name="T42" fmla="*/ 453 w 503"/>
                <a:gd name="T43" fmla="*/ 49 h 115"/>
                <a:gd name="T44" fmla="*/ 447 w 503"/>
                <a:gd name="T45" fmla="*/ 80 h 115"/>
                <a:gd name="T46" fmla="*/ 431 w 503"/>
                <a:gd name="T47" fmla="*/ 91 h 115"/>
                <a:gd name="T48" fmla="*/ 409 w 503"/>
                <a:gd name="T49" fmla="*/ 84 h 115"/>
                <a:gd name="T50" fmla="*/ 409 w 503"/>
                <a:gd name="T51" fmla="*/ 63 h 115"/>
                <a:gd name="T52" fmla="*/ 445 w 503"/>
                <a:gd name="T53" fmla="*/ 52 h 115"/>
                <a:gd name="T54" fmla="*/ 440 w 503"/>
                <a:gd name="T55" fmla="*/ 36 h 115"/>
                <a:gd name="T56" fmla="*/ 414 w 503"/>
                <a:gd name="T57" fmla="*/ 38 h 115"/>
                <a:gd name="T58" fmla="*/ 431 w 503"/>
                <a:gd name="T59" fmla="*/ 27 h 115"/>
                <a:gd name="T60" fmla="*/ 385 w 503"/>
                <a:gd name="T61" fmla="*/ 36 h 115"/>
                <a:gd name="T62" fmla="*/ 392 w 503"/>
                <a:gd name="T63" fmla="*/ 96 h 115"/>
                <a:gd name="T64" fmla="*/ 353 w 503"/>
                <a:gd name="T65" fmla="*/ 114 h 115"/>
                <a:gd name="T66" fmla="*/ 359 w 503"/>
                <a:gd name="T67" fmla="*/ 108 h 115"/>
                <a:gd name="T68" fmla="*/ 385 w 503"/>
                <a:gd name="T69" fmla="*/ 88 h 115"/>
                <a:gd name="T70" fmla="*/ 375 w 503"/>
                <a:gd name="T71" fmla="*/ 88 h 115"/>
                <a:gd name="T72" fmla="*/ 345 w 503"/>
                <a:gd name="T73" fmla="*/ 75 h 115"/>
                <a:gd name="T74" fmla="*/ 354 w 503"/>
                <a:gd name="T75" fmla="*/ 30 h 115"/>
                <a:gd name="T76" fmla="*/ 269 w 503"/>
                <a:gd name="T77" fmla="*/ 36 h 115"/>
                <a:gd name="T78" fmla="*/ 250 w 503"/>
                <a:gd name="T79" fmla="*/ 51 h 115"/>
                <a:gd name="T80" fmla="*/ 242 w 503"/>
                <a:gd name="T81" fmla="*/ 38 h 115"/>
                <a:gd name="T82" fmla="*/ 249 w 503"/>
                <a:gd name="T83" fmla="*/ 40 h 115"/>
                <a:gd name="T84" fmla="*/ 260 w 503"/>
                <a:gd name="T85" fmla="*/ 27 h 115"/>
                <a:gd name="T86" fmla="*/ 191 w 503"/>
                <a:gd name="T87" fmla="*/ 14 h 115"/>
                <a:gd name="T88" fmla="*/ 191 w 503"/>
                <a:gd name="T89" fmla="*/ 82 h 115"/>
                <a:gd name="T90" fmla="*/ 0 w 503"/>
                <a:gd name="T91" fmla="*/ 7 h 115"/>
                <a:gd name="T92" fmla="*/ 85 w 503"/>
                <a:gd name="T93" fmla="*/ 89 h 115"/>
                <a:gd name="T94" fmla="*/ 38 w 503"/>
                <a:gd name="T95" fmla="*/ 89 h 115"/>
                <a:gd name="T96" fmla="*/ 0 w 503"/>
                <a:gd name="T97" fmla="*/ 7 h 115"/>
                <a:gd name="T98" fmla="*/ 152 w 503"/>
                <a:gd name="T99" fmla="*/ 5 h 115"/>
                <a:gd name="T100" fmla="*/ 319 w 503"/>
                <a:gd name="T101" fmla="*/ 80 h 115"/>
                <a:gd name="T102" fmla="*/ 301 w 503"/>
                <a:gd name="T103" fmla="*/ 91 h 115"/>
                <a:gd name="T104" fmla="*/ 276 w 503"/>
                <a:gd name="T105" fmla="*/ 47 h 115"/>
                <a:gd name="T106" fmla="*/ 310 w 503"/>
                <a:gd name="T107" fmla="*/ 30 h 115"/>
                <a:gd name="T108" fmla="*/ 319 w 503"/>
                <a:gd name="T109" fmla="*/ 38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3" h="115">
                  <a:moveTo>
                    <a:pt x="444" y="59"/>
                  </a:moveTo>
                  <a:lnTo>
                    <a:pt x="433" y="59"/>
                  </a:lnTo>
                  <a:lnTo>
                    <a:pt x="425" y="62"/>
                  </a:lnTo>
                  <a:lnTo>
                    <a:pt x="418" y="66"/>
                  </a:lnTo>
                  <a:lnTo>
                    <a:pt x="415" y="74"/>
                  </a:lnTo>
                  <a:lnTo>
                    <a:pt x="415" y="78"/>
                  </a:lnTo>
                  <a:lnTo>
                    <a:pt x="418" y="81"/>
                  </a:lnTo>
                  <a:lnTo>
                    <a:pt x="420" y="82"/>
                  </a:lnTo>
                  <a:lnTo>
                    <a:pt x="423" y="84"/>
                  </a:lnTo>
                  <a:lnTo>
                    <a:pt x="427" y="85"/>
                  </a:lnTo>
                  <a:lnTo>
                    <a:pt x="433" y="84"/>
                  </a:lnTo>
                  <a:lnTo>
                    <a:pt x="437" y="82"/>
                  </a:lnTo>
                  <a:lnTo>
                    <a:pt x="440" y="80"/>
                  </a:lnTo>
                  <a:lnTo>
                    <a:pt x="442" y="77"/>
                  </a:lnTo>
                  <a:lnTo>
                    <a:pt x="444" y="74"/>
                  </a:lnTo>
                  <a:lnTo>
                    <a:pt x="445" y="71"/>
                  </a:lnTo>
                  <a:lnTo>
                    <a:pt x="445" y="69"/>
                  </a:lnTo>
                  <a:lnTo>
                    <a:pt x="445" y="64"/>
                  </a:lnTo>
                  <a:lnTo>
                    <a:pt x="445" y="63"/>
                  </a:lnTo>
                  <a:lnTo>
                    <a:pt x="445" y="59"/>
                  </a:lnTo>
                  <a:lnTo>
                    <a:pt x="444" y="59"/>
                  </a:lnTo>
                  <a:close/>
                  <a:moveTo>
                    <a:pt x="368" y="34"/>
                  </a:moveTo>
                  <a:lnTo>
                    <a:pt x="359" y="36"/>
                  </a:lnTo>
                  <a:lnTo>
                    <a:pt x="353" y="42"/>
                  </a:lnTo>
                  <a:lnTo>
                    <a:pt x="350" y="51"/>
                  </a:lnTo>
                  <a:lnTo>
                    <a:pt x="349" y="59"/>
                  </a:lnTo>
                  <a:lnTo>
                    <a:pt x="350" y="67"/>
                  </a:lnTo>
                  <a:lnTo>
                    <a:pt x="353" y="75"/>
                  </a:lnTo>
                  <a:lnTo>
                    <a:pt x="359" y="81"/>
                  </a:lnTo>
                  <a:lnTo>
                    <a:pt x="367" y="82"/>
                  </a:lnTo>
                  <a:lnTo>
                    <a:pt x="375" y="81"/>
                  </a:lnTo>
                  <a:lnTo>
                    <a:pt x="382" y="75"/>
                  </a:lnTo>
                  <a:lnTo>
                    <a:pt x="385" y="67"/>
                  </a:lnTo>
                  <a:lnTo>
                    <a:pt x="386" y="59"/>
                  </a:lnTo>
                  <a:lnTo>
                    <a:pt x="385" y="49"/>
                  </a:lnTo>
                  <a:lnTo>
                    <a:pt x="382" y="40"/>
                  </a:lnTo>
                  <a:lnTo>
                    <a:pt x="376" y="36"/>
                  </a:lnTo>
                  <a:lnTo>
                    <a:pt x="368" y="34"/>
                  </a:lnTo>
                  <a:close/>
                  <a:moveTo>
                    <a:pt x="301" y="34"/>
                  </a:moveTo>
                  <a:lnTo>
                    <a:pt x="293" y="36"/>
                  </a:lnTo>
                  <a:lnTo>
                    <a:pt x="287" y="42"/>
                  </a:lnTo>
                  <a:lnTo>
                    <a:pt x="284" y="51"/>
                  </a:lnTo>
                  <a:lnTo>
                    <a:pt x="283" y="59"/>
                  </a:lnTo>
                  <a:lnTo>
                    <a:pt x="284" y="69"/>
                  </a:lnTo>
                  <a:lnTo>
                    <a:pt x="287" y="77"/>
                  </a:lnTo>
                  <a:lnTo>
                    <a:pt x="293" y="82"/>
                  </a:lnTo>
                  <a:lnTo>
                    <a:pt x="301" y="85"/>
                  </a:lnTo>
                  <a:lnTo>
                    <a:pt x="310" y="82"/>
                  </a:lnTo>
                  <a:lnTo>
                    <a:pt x="316" y="75"/>
                  </a:lnTo>
                  <a:lnTo>
                    <a:pt x="319" y="67"/>
                  </a:lnTo>
                  <a:lnTo>
                    <a:pt x="319" y="59"/>
                  </a:lnTo>
                  <a:lnTo>
                    <a:pt x="319" y="51"/>
                  </a:lnTo>
                  <a:lnTo>
                    <a:pt x="316" y="42"/>
                  </a:lnTo>
                  <a:lnTo>
                    <a:pt x="310" y="36"/>
                  </a:lnTo>
                  <a:lnTo>
                    <a:pt x="301" y="34"/>
                  </a:lnTo>
                  <a:close/>
                  <a:moveTo>
                    <a:pt x="486" y="27"/>
                  </a:moveTo>
                  <a:lnTo>
                    <a:pt x="491" y="27"/>
                  </a:lnTo>
                  <a:lnTo>
                    <a:pt x="495" y="29"/>
                  </a:lnTo>
                  <a:lnTo>
                    <a:pt x="502" y="30"/>
                  </a:lnTo>
                  <a:lnTo>
                    <a:pt x="500" y="37"/>
                  </a:lnTo>
                  <a:lnTo>
                    <a:pt x="496" y="36"/>
                  </a:lnTo>
                  <a:lnTo>
                    <a:pt x="491" y="34"/>
                  </a:lnTo>
                  <a:lnTo>
                    <a:pt x="486" y="34"/>
                  </a:lnTo>
                  <a:lnTo>
                    <a:pt x="482" y="34"/>
                  </a:lnTo>
                  <a:lnTo>
                    <a:pt x="478" y="36"/>
                  </a:lnTo>
                  <a:lnTo>
                    <a:pt x="475" y="37"/>
                  </a:lnTo>
                  <a:lnTo>
                    <a:pt x="474" y="40"/>
                  </a:lnTo>
                  <a:lnTo>
                    <a:pt x="474" y="44"/>
                  </a:lnTo>
                  <a:lnTo>
                    <a:pt x="475" y="48"/>
                  </a:lnTo>
                  <a:lnTo>
                    <a:pt x="481" y="52"/>
                  </a:lnTo>
                  <a:lnTo>
                    <a:pt x="489" y="55"/>
                  </a:lnTo>
                  <a:lnTo>
                    <a:pt x="496" y="59"/>
                  </a:lnTo>
                  <a:lnTo>
                    <a:pt x="502" y="66"/>
                  </a:lnTo>
                  <a:lnTo>
                    <a:pt x="503" y="74"/>
                  </a:lnTo>
                  <a:lnTo>
                    <a:pt x="503" y="78"/>
                  </a:lnTo>
                  <a:lnTo>
                    <a:pt x="502" y="82"/>
                  </a:lnTo>
                  <a:lnTo>
                    <a:pt x="497" y="86"/>
                  </a:lnTo>
                  <a:lnTo>
                    <a:pt x="495" y="88"/>
                  </a:lnTo>
                  <a:lnTo>
                    <a:pt x="491" y="89"/>
                  </a:lnTo>
                  <a:lnTo>
                    <a:pt x="486" y="91"/>
                  </a:lnTo>
                  <a:lnTo>
                    <a:pt x="482" y="91"/>
                  </a:lnTo>
                  <a:lnTo>
                    <a:pt x="477" y="91"/>
                  </a:lnTo>
                  <a:lnTo>
                    <a:pt x="471" y="89"/>
                  </a:lnTo>
                  <a:lnTo>
                    <a:pt x="466" y="88"/>
                  </a:lnTo>
                  <a:lnTo>
                    <a:pt x="466" y="81"/>
                  </a:lnTo>
                  <a:lnTo>
                    <a:pt x="471" y="82"/>
                  </a:lnTo>
                  <a:lnTo>
                    <a:pt x="477" y="84"/>
                  </a:lnTo>
                  <a:lnTo>
                    <a:pt x="482" y="85"/>
                  </a:lnTo>
                  <a:lnTo>
                    <a:pt x="486" y="84"/>
                  </a:lnTo>
                  <a:lnTo>
                    <a:pt x="489" y="82"/>
                  </a:lnTo>
                  <a:lnTo>
                    <a:pt x="493" y="81"/>
                  </a:lnTo>
                  <a:lnTo>
                    <a:pt x="495" y="77"/>
                  </a:lnTo>
                  <a:lnTo>
                    <a:pt x="495" y="74"/>
                  </a:lnTo>
                  <a:lnTo>
                    <a:pt x="493" y="67"/>
                  </a:lnTo>
                  <a:lnTo>
                    <a:pt x="488" y="63"/>
                  </a:lnTo>
                  <a:lnTo>
                    <a:pt x="481" y="60"/>
                  </a:lnTo>
                  <a:lnTo>
                    <a:pt x="474" y="56"/>
                  </a:lnTo>
                  <a:lnTo>
                    <a:pt x="469" y="51"/>
                  </a:lnTo>
                  <a:lnTo>
                    <a:pt x="466" y="44"/>
                  </a:lnTo>
                  <a:lnTo>
                    <a:pt x="467" y="40"/>
                  </a:lnTo>
                  <a:lnTo>
                    <a:pt x="469" y="36"/>
                  </a:lnTo>
                  <a:lnTo>
                    <a:pt x="471" y="33"/>
                  </a:lnTo>
                  <a:lnTo>
                    <a:pt x="474" y="30"/>
                  </a:lnTo>
                  <a:lnTo>
                    <a:pt x="478" y="29"/>
                  </a:lnTo>
                  <a:lnTo>
                    <a:pt x="482" y="27"/>
                  </a:lnTo>
                  <a:lnTo>
                    <a:pt x="486" y="27"/>
                  </a:lnTo>
                  <a:close/>
                  <a:moveTo>
                    <a:pt x="431" y="27"/>
                  </a:moveTo>
                  <a:lnTo>
                    <a:pt x="444" y="30"/>
                  </a:lnTo>
                  <a:lnTo>
                    <a:pt x="451" y="37"/>
                  </a:lnTo>
                  <a:lnTo>
                    <a:pt x="453" y="49"/>
                  </a:lnTo>
                  <a:lnTo>
                    <a:pt x="453" y="77"/>
                  </a:lnTo>
                  <a:lnTo>
                    <a:pt x="453" y="84"/>
                  </a:lnTo>
                  <a:lnTo>
                    <a:pt x="453" y="89"/>
                  </a:lnTo>
                  <a:lnTo>
                    <a:pt x="447" y="89"/>
                  </a:lnTo>
                  <a:lnTo>
                    <a:pt x="447" y="80"/>
                  </a:lnTo>
                  <a:lnTo>
                    <a:pt x="445" y="80"/>
                  </a:lnTo>
                  <a:lnTo>
                    <a:pt x="444" y="84"/>
                  </a:lnTo>
                  <a:lnTo>
                    <a:pt x="440" y="86"/>
                  </a:lnTo>
                  <a:lnTo>
                    <a:pt x="436" y="89"/>
                  </a:lnTo>
                  <a:lnTo>
                    <a:pt x="431" y="91"/>
                  </a:lnTo>
                  <a:lnTo>
                    <a:pt x="426" y="91"/>
                  </a:lnTo>
                  <a:lnTo>
                    <a:pt x="420" y="91"/>
                  </a:lnTo>
                  <a:lnTo>
                    <a:pt x="416" y="89"/>
                  </a:lnTo>
                  <a:lnTo>
                    <a:pt x="412" y="86"/>
                  </a:lnTo>
                  <a:lnTo>
                    <a:pt x="409" y="84"/>
                  </a:lnTo>
                  <a:lnTo>
                    <a:pt x="408" y="81"/>
                  </a:lnTo>
                  <a:lnTo>
                    <a:pt x="407" y="78"/>
                  </a:lnTo>
                  <a:lnTo>
                    <a:pt x="407" y="75"/>
                  </a:lnTo>
                  <a:lnTo>
                    <a:pt x="407" y="74"/>
                  </a:lnTo>
                  <a:lnTo>
                    <a:pt x="409" y="63"/>
                  </a:lnTo>
                  <a:lnTo>
                    <a:pt x="415" y="58"/>
                  </a:lnTo>
                  <a:lnTo>
                    <a:pt x="425" y="53"/>
                  </a:lnTo>
                  <a:lnTo>
                    <a:pt x="434" y="52"/>
                  </a:lnTo>
                  <a:lnTo>
                    <a:pt x="444" y="52"/>
                  </a:lnTo>
                  <a:lnTo>
                    <a:pt x="445" y="52"/>
                  </a:lnTo>
                  <a:lnTo>
                    <a:pt x="445" y="49"/>
                  </a:lnTo>
                  <a:lnTo>
                    <a:pt x="445" y="45"/>
                  </a:lnTo>
                  <a:lnTo>
                    <a:pt x="444" y="40"/>
                  </a:lnTo>
                  <a:lnTo>
                    <a:pt x="442" y="37"/>
                  </a:lnTo>
                  <a:lnTo>
                    <a:pt x="440" y="36"/>
                  </a:lnTo>
                  <a:lnTo>
                    <a:pt x="436" y="34"/>
                  </a:lnTo>
                  <a:lnTo>
                    <a:pt x="431" y="34"/>
                  </a:lnTo>
                  <a:lnTo>
                    <a:pt x="426" y="34"/>
                  </a:lnTo>
                  <a:lnTo>
                    <a:pt x="419" y="36"/>
                  </a:lnTo>
                  <a:lnTo>
                    <a:pt x="414" y="38"/>
                  </a:lnTo>
                  <a:lnTo>
                    <a:pt x="414" y="31"/>
                  </a:lnTo>
                  <a:lnTo>
                    <a:pt x="418" y="30"/>
                  </a:lnTo>
                  <a:lnTo>
                    <a:pt x="422" y="29"/>
                  </a:lnTo>
                  <a:lnTo>
                    <a:pt x="427" y="27"/>
                  </a:lnTo>
                  <a:lnTo>
                    <a:pt x="431" y="27"/>
                  </a:lnTo>
                  <a:close/>
                  <a:moveTo>
                    <a:pt x="367" y="27"/>
                  </a:moveTo>
                  <a:lnTo>
                    <a:pt x="372" y="27"/>
                  </a:lnTo>
                  <a:lnTo>
                    <a:pt x="376" y="29"/>
                  </a:lnTo>
                  <a:lnTo>
                    <a:pt x="381" y="31"/>
                  </a:lnTo>
                  <a:lnTo>
                    <a:pt x="385" y="36"/>
                  </a:lnTo>
                  <a:lnTo>
                    <a:pt x="386" y="36"/>
                  </a:lnTo>
                  <a:lnTo>
                    <a:pt x="386" y="29"/>
                  </a:lnTo>
                  <a:lnTo>
                    <a:pt x="393" y="29"/>
                  </a:lnTo>
                  <a:lnTo>
                    <a:pt x="393" y="85"/>
                  </a:lnTo>
                  <a:lnTo>
                    <a:pt x="392" y="96"/>
                  </a:lnTo>
                  <a:lnTo>
                    <a:pt x="386" y="106"/>
                  </a:lnTo>
                  <a:lnTo>
                    <a:pt x="378" y="113"/>
                  </a:lnTo>
                  <a:lnTo>
                    <a:pt x="364" y="115"/>
                  </a:lnTo>
                  <a:lnTo>
                    <a:pt x="359" y="115"/>
                  </a:lnTo>
                  <a:lnTo>
                    <a:pt x="353" y="114"/>
                  </a:lnTo>
                  <a:lnTo>
                    <a:pt x="349" y="113"/>
                  </a:lnTo>
                  <a:lnTo>
                    <a:pt x="346" y="113"/>
                  </a:lnTo>
                  <a:lnTo>
                    <a:pt x="346" y="104"/>
                  </a:lnTo>
                  <a:lnTo>
                    <a:pt x="352" y="107"/>
                  </a:lnTo>
                  <a:lnTo>
                    <a:pt x="359" y="108"/>
                  </a:lnTo>
                  <a:lnTo>
                    <a:pt x="364" y="108"/>
                  </a:lnTo>
                  <a:lnTo>
                    <a:pt x="374" y="107"/>
                  </a:lnTo>
                  <a:lnTo>
                    <a:pt x="381" y="103"/>
                  </a:lnTo>
                  <a:lnTo>
                    <a:pt x="383" y="96"/>
                  </a:lnTo>
                  <a:lnTo>
                    <a:pt x="385" y="88"/>
                  </a:lnTo>
                  <a:lnTo>
                    <a:pt x="386" y="78"/>
                  </a:lnTo>
                  <a:lnTo>
                    <a:pt x="386" y="78"/>
                  </a:lnTo>
                  <a:lnTo>
                    <a:pt x="383" y="82"/>
                  </a:lnTo>
                  <a:lnTo>
                    <a:pt x="379" y="85"/>
                  </a:lnTo>
                  <a:lnTo>
                    <a:pt x="375" y="88"/>
                  </a:lnTo>
                  <a:lnTo>
                    <a:pt x="371" y="89"/>
                  </a:lnTo>
                  <a:lnTo>
                    <a:pt x="367" y="89"/>
                  </a:lnTo>
                  <a:lnTo>
                    <a:pt x="357" y="88"/>
                  </a:lnTo>
                  <a:lnTo>
                    <a:pt x="349" y="82"/>
                  </a:lnTo>
                  <a:lnTo>
                    <a:pt x="345" y="75"/>
                  </a:lnTo>
                  <a:lnTo>
                    <a:pt x="342" y="67"/>
                  </a:lnTo>
                  <a:lnTo>
                    <a:pt x="342" y="59"/>
                  </a:lnTo>
                  <a:lnTo>
                    <a:pt x="343" y="47"/>
                  </a:lnTo>
                  <a:lnTo>
                    <a:pt x="348" y="36"/>
                  </a:lnTo>
                  <a:lnTo>
                    <a:pt x="354" y="30"/>
                  </a:lnTo>
                  <a:lnTo>
                    <a:pt x="367" y="27"/>
                  </a:lnTo>
                  <a:close/>
                  <a:moveTo>
                    <a:pt x="264" y="27"/>
                  </a:moveTo>
                  <a:lnTo>
                    <a:pt x="266" y="27"/>
                  </a:lnTo>
                  <a:lnTo>
                    <a:pt x="269" y="27"/>
                  </a:lnTo>
                  <a:lnTo>
                    <a:pt x="269" y="36"/>
                  </a:lnTo>
                  <a:lnTo>
                    <a:pt x="266" y="36"/>
                  </a:lnTo>
                  <a:lnTo>
                    <a:pt x="264" y="36"/>
                  </a:lnTo>
                  <a:lnTo>
                    <a:pt x="257" y="37"/>
                  </a:lnTo>
                  <a:lnTo>
                    <a:pt x="251" y="44"/>
                  </a:lnTo>
                  <a:lnTo>
                    <a:pt x="250" y="51"/>
                  </a:lnTo>
                  <a:lnTo>
                    <a:pt x="249" y="59"/>
                  </a:lnTo>
                  <a:lnTo>
                    <a:pt x="249" y="89"/>
                  </a:lnTo>
                  <a:lnTo>
                    <a:pt x="242" y="89"/>
                  </a:lnTo>
                  <a:lnTo>
                    <a:pt x="242" y="42"/>
                  </a:lnTo>
                  <a:lnTo>
                    <a:pt x="242" y="38"/>
                  </a:lnTo>
                  <a:lnTo>
                    <a:pt x="242" y="34"/>
                  </a:lnTo>
                  <a:lnTo>
                    <a:pt x="242" y="31"/>
                  </a:lnTo>
                  <a:lnTo>
                    <a:pt x="240" y="29"/>
                  </a:lnTo>
                  <a:lnTo>
                    <a:pt x="249" y="29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50" y="37"/>
                  </a:lnTo>
                  <a:lnTo>
                    <a:pt x="253" y="33"/>
                  </a:lnTo>
                  <a:lnTo>
                    <a:pt x="255" y="30"/>
                  </a:lnTo>
                  <a:lnTo>
                    <a:pt x="260" y="27"/>
                  </a:lnTo>
                  <a:lnTo>
                    <a:pt x="264" y="27"/>
                  </a:lnTo>
                  <a:close/>
                  <a:moveTo>
                    <a:pt x="183" y="7"/>
                  </a:moveTo>
                  <a:lnTo>
                    <a:pt x="224" y="7"/>
                  </a:lnTo>
                  <a:lnTo>
                    <a:pt x="224" y="14"/>
                  </a:lnTo>
                  <a:lnTo>
                    <a:pt x="191" y="14"/>
                  </a:lnTo>
                  <a:lnTo>
                    <a:pt x="191" y="42"/>
                  </a:lnTo>
                  <a:lnTo>
                    <a:pt x="221" y="42"/>
                  </a:lnTo>
                  <a:lnTo>
                    <a:pt x="221" y="51"/>
                  </a:lnTo>
                  <a:lnTo>
                    <a:pt x="191" y="51"/>
                  </a:lnTo>
                  <a:lnTo>
                    <a:pt x="191" y="82"/>
                  </a:lnTo>
                  <a:lnTo>
                    <a:pt x="225" y="82"/>
                  </a:lnTo>
                  <a:lnTo>
                    <a:pt x="225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2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45" y="89"/>
                  </a:lnTo>
                  <a:lnTo>
                    <a:pt x="38" y="89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2" y="5"/>
                  </a:moveTo>
                  <a:lnTo>
                    <a:pt x="161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2" y="5"/>
                  </a:lnTo>
                  <a:close/>
                  <a:moveTo>
                    <a:pt x="319" y="0"/>
                  </a:moveTo>
                  <a:lnTo>
                    <a:pt x="327" y="0"/>
                  </a:lnTo>
                  <a:lnTo>
                    <a:pt x="327" y="89"/>
                  </a:lnTo>
                  <a:lnTo>
                    <a:pt x="319" y="89"/>
                  </a:lnTo>
                  <a:lnTo>
                    <a:pt x="319" y="80"/>
                  </a:lnTo>
                  <a:lnTo>
                    <a:pt x="319" y="80"/>
                  </a:lnTo>
                  <a:lnTo>
                    <a:pt x="316" y="85"/>
                  </a:lnTo>
                  <a:lnTo>
                    <a:pt x="312" y="88"/>
                  </a:lnTo>
                  <a:lnTo>
                    <a:pt x="306" y="91"/>
                  </a:lnTo>
                  <a:lnTo>
                    <a:pt x="301" y="91"/>
                  </a:lnTo>
                  <a:lnTo>
                    <a:pt x="290" y="88"/>
                  </a:lnTo>
                  <a:lnTo>
                    <a:pt x="282" y="82"/>
                  </a:lnTo>
                  <a:lnTo>
                    <a:pt x="277" y="71"/>
                  </a:lnTo>
                  <a:lnTo>
                    <a:pt x="275" y="59"/>
                  </a:lnTo>
                  <a:lnTo>
                    <a:pt x="276" y="47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301" y="27"/>
                  </a:lnTo>
                  <a:lnTo>
                    <a:pt x="306" y="27"/>
                  </a:lnTo>
                  <a:lnTo>
                    <a:pt x="310" y="30"/>
                  </a:lnTo>
                  <a:lnTo>
                    <a:pt x="313" y="31"/>
                  </a:lnTo>
                  <a:lnTo>
                    <a:pt x="316" y="34"/>
                  </a:lnTo>
                  <a:lnTo>
                    <a:pt x="319" y="37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39"/>
            <p:cNvSpPr>
              <a:spLocks noEditPoints="1"/>
            </p:cNvSpPr>
            <p:nvPr userDrawn="1"/>
          </p:nvSpPr>
          <p:spPr bwMode="auto">
            <a:xfrm>
              <a:off x="4123690" y="6142701"/>
              <a:ext cx="357891" cy="91331"/>
            </a:xfrm>
            <a:custGeom>
              <a:avLst/>
              <a:gdLst>
                <a:gd name="T0" fmla="*/ 266 w 337"/>
                <a:gd name="T1" fmla="*/ 29 h 86"/>
                <a:gd name="T2" fmla="*/ 259 w 337"/>
                <a:gd name="T3" fmla="*/ 35 h 86"/>
                <a:gd name="T4" fmla="*/ 255 w 337"/>
                <a:gd name="T5" fmla="*/ 44 h 86"/>
                <a:gd name="T6" fmla="*/ 286 w 337"/>
                <a:gd name="T7" fmla="*/ 50 h 86"/>
                <a:gd name="T8" fmla="*/ 286 w 337"/>
                <a:gd name="T9" fmla="*/ 42 h 86"/>
                <a:gd name="T10" fmla="*/ 282 w 337"/>
                <a:gd name="T11" fmla="*/ 33 h 86"/>
                <a:gd name="T12" fmla="*/ 275 w 337"/>
                <a:gd name="T13" fmla="*/ 29 h 86"/>
                <a:gd name="T14" fmla="*/ 271 w 337"/>
                <a:gd name="T15" fmla="*/ 22 h 86"/>
                <a:gd name="T16" fmla="*/ 289 w 337"/>
                <a:gd name="T17" fmla="*/ 31 h 86"/>
                <a:gd name="T18" fmla="*/ 294 w 337"/>
                <a:gd name="T19" fmla="*/ 53 h 86"/>
                <a:gd name="T20" fmla="*/ 253 w 337"/>
                <a:gd name="T21" fmla="*/ 57 h 86"/>
                <a:gd name="T22" fmla="*/ 259 w 337"/>
                <a:gd name="T23" fmla="*/ 73 h 86"/>
                <a:gd name="T24" fmla="*/ 274 w 337"/>
                <a:gd name="T25" fmla="*/ 80 h 86"/>
                <a:gd name="T26" fmla="*/ 282 w 337"/>
                <a:gd name="T27" fmla="*/ 77 h 86"/>
                <a:gd name="T28" fmla="*/ 290 w 337"/>
                <a:gd name="T29" fmla="*/ 75 h 86"/>
                <a:gd name="T30" fmla="*/ 285 w 337"/>
                <a:gd name="T31" fmla="*/ 84 h 86"/>
                <a:gd name="T32" fmla="*/ 273 w 337"/>
                <a:gd name="T33" fmla="*/ 86 h 86"/>
                <a:gd name="T34" fmla="*/ 252 w 337"/>
                <a:gd name="T35" fmla="*/ 77 h 86"/>
                <a:gd name="T36" fmla="*/ 245 w 337"/>
                <a:gd name="T37" fmla="*/ 54 h 86"/>
                <a:gd name="T38" fmla="*/ 252 w 337"/>
                <a:gd name="T39" fmla="*/ 31 h 86"/>
                <a:gd name="T40" fmla="*/ 271 w 337"/>
                <a:gd name="T41" fmla="*/ 22 h 86"/>
                <a:gd name="T42" fmla="*/ 220 w 337"/>
                <a:gd name="T43" fmla="*/ 24 h 86"/>
                <a:gd name="T44" fmla="*/ 230 w 337"/>
                <a:gd name="T45" fmla="*/ 36 h 86"/>
                <a:gd name="T46" fmla="*/ 231 w 337"/>
                <a:gd name="T47" fmla="*/ 84 h 86"/>
                <a:gd name="T48" fmla="*/ 223 w 337"/>
                <a:gd name="T49" fmla="*/ 47 h 86"/>
                <a:gd name="T50" fmla="*/ 222 w 337"/>
                <a:gd name="T51" fmla="*/ 37 h 86"/>
                <a:gd name="T52" fmla="*/ 218 w 337"/>
                <a:gd name="T53" fmla="*/ 31 h 86"/>
                <a:gd name="T54" fmla="*/ 209 w 337"/>
                <a:gd name="T55" fmla="*/ 29 h 86"/>
                <a:gd name="T56" fmla="*/ 196 w 337"/>
                <a:gd name="T57" fmla="*/ 35 h 86"/>
                <a:gd name="T58" fmla="*/ 191 w 337"/>
                <a:gd name="T59" fmla="*/ 51 h 86"/>
                <a:gd name="T60" fmla="*/ 183 w 337"/>
                <a:gd name="T61" fmla="*/ 84 h 86"/>
                <a:gd name="T62" fmla="*/ 183 w 337"/>
                <a:gd name="T63" fmla="*/ 31 h 86"/>
                <a:gd name="T64" fmla="*/ 190 w 337"/>
                <a:gd name="T65" fmla="*/ 24 h 86"/>
                <a:gd name="T66" fmla="*/ 190 w 337"/>
                <a:gd name="T67" fmla="*/ 35 h 86"/>
                <a:gd name="T68" fmla="*/ 194 w 337"/>
                <a:gd name="T69" fmla="*/ 29 h 86"/>
                <a:gd name="T70" fmla="*/ 200 w 337"/>
                <a:gd name="T71" fmla="*/ 24 h 86"/>
                <a:gd name="T72" fmla="*/ 211 w 337"/>
                <a:gd name="T73" fmla="*/ 22 h 86"/>
                <a:gd name="T74" fmla="*/ 322 w 337"/>
                <a:gd name="T75" fmla="*/ 24 h 86"/>
                <a:gd name="T76" fmla="*/ 336 w 337"/>
                <a:gd name="T77" fmla="*/ 31 h 86"/>
                <a:gd name="T78" fmla="*/ 322 w 337"/>
                <a:gd name="T79" fmla="*/ 69 h 86"/>
                <a:gd name="T80" fmla="*/ 323 w 337"/>
                <a:gd name="T81" fmla="*/ 76 h 86"/>
                <a:gd name="T82" fmla="*/ 326 w 337"/>
                <a:gd name="T83" fmla="*/ 79 h 86"/>
                <a:gd name="T84" fmla="*/ 333 w 337"/>
                <a:gd name="T85" fmla="*/ 79 h 86"/>
                <a:gd name="T86" fmla="*/ 337 w 337"/>
                <a:gd name="T87" fmla="*/ 84 h 86"/>
                <a:gd name="T88" fmla="*/ 332 w 337"/>
                <a:gd name="T89" fmla="*/ 86 h 86"/>
                <a:gd name="T90" fmla="*/ 323 w 337"/>
                <a:gd name="T91" fmla="*/ 86 h 86"/>
                <a:gd name="T92" fmla="*/ 316 w 337"/>
                <a:gd name="T93" fmla="*/ 81 h 86"/>
                <a:gd name="T94" fmla="*/ 315 w 337"/>
                <a:gd name="T95" fmla="*/ 75 h 86"/>
                <a:gd name="T96" fmla="*/ 314 w 337"/>
                <a:gd name="T97" fmla="*/ 65 h 86"/>
                <a:gd name="T98" fmla="*/ 303 w 337"/>
                <a:gd name="T99" fmla="*/ 31 h 86"/>
                <a:gd name="T100" fmla="*/ 314 w 337"/>
                <a:gd name="T101" fmla="*/ 24 h 86"/>
                <a:gd name="T102" fmla="*/ 322 w 337"/>
                <a:gd name="T103" fmla="*/ 6 h 86"/>
                <a:gd name="T104" fmla="*/ 14 w 337"/>
                <a:gd name="T105" fmla="*/ 2 h 86"/>
                <a:gd name="T106" fmla="*/ 75 w 337"/>
                <a:gd name="T107" fmla="*/ 2 h 86"/>
                <a:gd name="T108" fmla="*/ 87 w 337"/>
                <a:gd name="T109" fmla="*/ 84 h 86"/>
                <a:gd name="T110" fmla="*/ 79 w 337"/>
                <a:gd name="T111" fmla="*/ 10 h 86"/>
                <a:gd name="T112" fmla="*/ 47 w 337"/>
                <a:gd name="T113" fmla="*/ 84 h 86"/>
                <a:gd name="T114" fmla="*/ 10 w 337"/>
                <a:gd name="T115" fmla="*/ 10 h 86"/>
                <a:gd name="T116" fmla="*/ 9 w 337"/>
                <a:gd name="T117" fmla="*/ 84 h 86"/>
                <a:gd name="T118" fmla="*/ 0 w 337"/>
                <a:gd name="T119" fmla="*/ 2 h 86"/>
                <a:gd name="T120" fmla="*/ 163 w 337"/>
                <a:gd name="T121" fmla="*/ 0 h 86"/>
                <a:gd name="T122" fmla="*/ 108 w 337"/>
                <a:gd name="T12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" h="86">
                  <a:moveTo>
                    <a:pt x="271" y="29"/>
                  </a:moveTo>
                  <a:lnTo>
                    <a:pt x="266" y="29"/>
                  </a:lnTo>
                  <a:lnTo>
                    <a:pt x="262" y="32"/>
                  </a:lnTo>
                  <a:lnTo>
                    <a:pt x="259" y="35"/>
                  </a:lnTo>
                  <a:lnTo>
                    <a:pt x="256" y="40"/>
                  </a:lnTo>
                  <a:lnTo>
                    <a:pt x="255" y="44"/>
                  </a:lnTo>
                  <a:lnTo>
                    <a:pt x="253" y="50"/>
                  </a:lnTo>
                  <a:lnTo>
                    <a:pt x="286" y="50"/>
                  </a:lnTo>
                  <a:lnTo>
                    <a:pt x="286" y="46"/>
                  </a:lnTo>
                  <a:lnTo>
                    <a:pt x="286" y="42"/>
                  </a:lnTo>
                  <a:lnTo>
                    <a:pt x="285" y="37"/>
                  </a:lnTo>
                  <a:lnTo>
                    <a:pt x="282" y="33"/>
                  </a:lnTo>
                  <a:lnTo>
                    <a:pt x="279" y="31"/>
                  </a:lnTo>
                  <a:lnTo>
                    <a:pt x="275" y="29"/>
                  </a:lnTo>
                  <a:lnTo>
                    <a:pt x="271" y="29"/>
                  </a:lnTo>
                  <a:close/>
                  <a:moveTo>
                    <a:pt x="271" y="22"/>
                  </a:moveTo>
                  <a:lnTo>
                    <a:pt x="282" y="25"/>
                  </a:lnTo>
                  <a:lnTo>
                    <a:pt x="289" y="31"/>
                  </a:lnTo>
                  <a:lnTo>
                    <a:pt x="293" y="40"/>
                  </a:lnTo>
                  <a:lnTo>
                    <a:pt x="294" y="53"/>
                  </a:lnTo>
                  <a:lnTo>
                    <a:pt x="294" y="57"/>
                  </a:lnTo>
                  <a:lnTo>
                    <a:pt x="253" y="57"/>
                  </a:lnTo>
                  <a:lnTo>
                    <a:pt x="255" y="65"/>
                  </a:lnTo>
                  <a:lnTo>
                    <a:pt x="259" y="73"/>
                  </a:lnTo>
                  <a:lnTo>
                    <a:pt x="264" y="77"/>
                  </a:lnTo>
                  <a:lnTo>
                    <a:pt x="274" y="80"/>
                  </a:lnTo>
                  <a:lnTo>
                    <a:pt x="278" y="79"/>
                  </a:lnTo>
                  <a:lnTo>
                    <a:pt x="282" y="77"/>
                  </a:lnTo>
                  <a:lnTo>
                    <a:pt x="288" y="76"/>
                  </a:lnTo>
                  <a:lnTo>
                    <a:pt x="290" y="75"/>
                  </a:lnTo>
                  <a:lnTo>
                    <a:pt x="290" y="83"/>
                  </a:lnTo>
                  <a:lnTo>
                    <a:pt x="285" y="84"/>
                  </a:lnTo>
                  <a:lnTo>
                    <a:pt x="279" y="86"/>
                  </a:lnTo>
                  <a:lnTo>
                    <a:pt x="273" y="86"/>
                  </a:lnTo>
                  <a:lnTo>
                    <a:pt x="260" y="83"/>
                  </a:lnTo>
                  <a:lnTo>
                    <a:pt x="252" y="77"/>
                  </a:lnTo>
                  <a:lnTo>
                    <a:pt x="246" y="66"/>
                  </a:lnTo>
                  <a:lnTo>
                    <a:pt x="245" y="54"/>
                  </a:lnTo>
                  <a:lnTo>
                    <a:pt x="248" y="42"/>
                  </a:lnTo>
                  <a:lnTo>
                    <a:pt x="252" y="31"/>
                  </a:lnTo>
                  <a:lnTo>
                    <a:pt x="260" y="25"/>
                  </a:lnTo>
                  <a:lnTo>
                    <a:pt x="271" y="22"/>
                  </a:lnTo>
                  <a:close/>
                  <a:moveTo>
                    <a:pt x="211" y="22"/>
                  </a:moveTo>
                  <a:lnTo>
                    <a:pt x="220" y="24"/>
                  </a:lnTo>
                  <a:lnTo>
                    <a:pt x="226" y="29"/>
                  </a:lnTo>
                  <a:lnTo>
                    <a:pt x="230" y="36"/>
                  </a:lnTo>
                  <a:lnTo>
                    <a:pt x="231" y="46"/>
                  </a:lnTo>
                  <a:lnTo>
                    <a:pt x="231" y="84"/>
                  </a:lnTo>
                  <a:lnTo>
                    <a:pt x="223" y="84"/>
                  </a:lnTo>
                  <a:lnTo>
                    <a:pt x="223" y="47"/>
                  </a:lnTo>
                  <a:lnTo>
                    <a:pt x="223" y="42"/>
                  </a:lnTo>
                  <a:lnTo>
                    <a:pt x="222" y="37"/>
                  </a:lnTo>
                  <a:lnTo>
                    <a:pt x="220" y="33"/>
                  </a:lnTo>
                  <a:lnTo>
                    <a:pt x="218" y="31"/>
                  </a:lnTo>
                  <a:lnTo>
                    <a:pt x="213" y="29"/>
                  </a:lnTo>
                  <a:lnTo>
                    <a:pt x="209" y="29"/>
                  </a:lnTo>
                  <a:lnTo>
                    <a:pt x="201" y="31"/>
                  </a:lnTo>
                  <a:lnTo>
                    <a:pt x="196" y="35"/>
                  </a:lnTo>
                  <a:lnTo>
                    <a:pt x="191" y="43"/>
                  </a:lnTo>
                  <a:lnTo>
                    <a:pt x="191" y="51"/>
                  </a:lnTo>
                  <a:lnTo>
                    <a:pt x="191" y="84"/>
                  </a:lnTo>
                  <a:lnTo>
                    <a:pt x="183" y="84"/>
                  </a:lnTo>
                  <a:lnTo>
                    <a:pt x="183" y="37"/>
                  </a:lnTo>
                  <a:lnTo>
                    <a:pt x="183" y="31"/>
                  </a:lnTo>
                  <a:lnTo>
                    <a:pt x="183" y="24"/>
                  </a:lnTo>
                  <a:lnTo>
                    <a:pt x="190" y="24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3" y="32"/>
                  </a:lnTo>
                  <a:lnTo>
                    <a:pt x="194" y="29"/>
                  </a:lnTo>
                  <a:lnTo>
                    <a:pt x="197" y="26"/>
                  </a:lnTo>
                  <a:lnTo>
                    <a:pt x="200" y="24"/>
                  </a:lnTo>
                  <a:lnTo>
                    <a:pt x="205" y="22"/>
                  </a:lnTo>
                  <a:lnTo>
                    <a:pt x="211" y="22"/>
                  </a:lnTo>
                  <a:close/>
                  <a:moveTo>
                    <a:pt x="322" y="6"/>
                  </a:moveTo>
                  <a:lnTo>
                    <a:pt x="322" y="24"/>
                  </a:lnTo>
                  <a:lnTo>
                    <a:pt x="336" y="24"/>
                  </a:lnTo>
                  <a:lnTo>
                    <a:pt x="336" y="31"/>
                  </a:lnTo>
                  <a:lnTo>
                    <a:pt x="322" y="31"/>
                  </a:lnTo>
                  <a:lnTo>
                    <a:pt x="322" y="69"/>
                  </a:lnTo>
                  <a:lnTo>
                    <a:pt x="322" y="73"/>
                  </a:lnTo>
                  <a:lnTo>
                    <a:pt x="323" y="76"/>
                  </a:lnTo>
                  <a:lnTo>
                    <a:pt x="325" y="77"/>
                  </a:lnTo>
                  <a:lnTo>
                    <a:pt x="326" y="79"/>
                  </a:lnTo>
                  <a:lnTo>
                    <a:pt x="330" y="80"/>
                  </a:lnTo>
                  <a:lnTo>
                    <a:pt x="333" y="79"/>
                  </a:lnTo>
                  <a:lnTo>
                    <a:pt x="337" y="77"/>
                  </a:lnTo>
                  <a:lnTo>
                    <a:pt x="337" y="84"/>
                  </a:lnTo>
                  <a:lnTo>
                    <a:pt x="334" y="86"/>
                  </a:lnTo>
                  <a:lnTo>
                    <a:pt x="332" y="86"/>
                  </a:lnTo>
                  <a:lnTo>
                    <a:pt x="327" y="86"/>
                  </a:lnTo>
                  <a:lnTo>
                    <a:pt x="323" y="86"/>
                  </a:lnTo>
                  <a:lnTo>
                    <a:pt x="319" y="84"/>
                  </a:lnTo>
                  <a:lnTo>
                    <a:pt x="316" y="81"/>
                  </a:lnTo>
                  <a:lnTo>
                    <a:pt x="315" y="79"/>
                  </a:lnTo>
                  <a:lnTo>
                    <a:pt x="315" y="75"/>
                  </a:lnTo>
                  <a:lnTo>
                    <a:pt x="314" y="70"/>
                  </a:lnTo>
                  <a:lnTo>
                    <a:pt x="314" y="65"/>
                  </a:lnTo>
                  <a:lnTo>
                    <a:pt x="314" y="31"/>
                  </a:lnTo>
                  <a:lnTo>
                    <a:pt x="303" y="31"/>
                  </a:lnTo>
                  <a:lnTo>
                    <a:pt x="303" y="24"/>
                  </a:lnTo>
                  <a:lnTo>
                    <a:pt x="314" y="24"/>
                  </a:lnTo>
                  <a:lnTo>
                    <a:pt x="314" y="9"/>
                  </a:lnTo>
                  <a:lnTo>
                    <a:pt x="322" y="6"/>
                  </a:lnTo>
                  <a:close/>
                  <a:moveTo>
                    <a:pt x="0" y="2"/>
                  </a:moveTo>
                  <a:lnTo>
                    <a:pt x="14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7" y="2"/>
                  </a:lnTo>
                  <a:lnTo>
                    <a:pt x="87" y="84"/>
                  </a:lnTo>
                  <a:lnTo>
                    <a:pt x="79" y="84"/>
                  </a:lnTo>
                  <a:lnTo>
                    <a:pt x="79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84688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221038" y="1701800"/>
            <a:ext cx="5570537" cy="45354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350838" y="1701800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/>
          </p:nvPr>
        </p:nvSpPr>
        <p:spPr>
          <a:xfrm>
            <a:off x="350838" y="3249544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/>
          </p:nvPr>
        </p:nvSpPr>
        <p:spPr>
          <a:xfrm>
            <a:off x="350838" y="4797288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1645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9" y="1701800"/>
            <a:ext cx="5580062" cy="45354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>
          <a:xfrm>
            <a:off x="6091575" y="1701800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/>
          </p:nvPr>
        </p:nvSpPr>
        <p:spPr>
          <a:xfrm>
            <a:off x="6091575" y="3249544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/>
          </p:nvPr>
        </p:nvSpPr>
        <p:spPr>
          <a:xfrm>
            <a:off x="6091575" y="4797288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900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8" y="1701800"/>
            <a:ext cx="8440737" cy="295646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59113" y="4797288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/>
          </p:nvPr>
        </p:nvSpPr>
        <p:spPr>
          <a:xfrm>
            <a:off x="3225343" y="4797288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/>
          </p:nvPr>
        </p:nvSpPr>
        <p:spPr>
          <a:xfrm>
            <a:off x="6092825" y="4797288"/>
            <a:ext cx="2700000" cy="14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803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1832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0838" y="1701800"/>
            <a:ext cx="8440737" cy="954087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1588" indent="0" algn="l">
              <a:defRPr sz="2800" b="1"/>
            </a:lvl1pPr>
          </a:lstStyle>
          <a:p>
            <a:r>
              <a:rPr lang="de-DE" dirty="0" smtClean="0"/>
              <a:t>Vielen Dank für Ihre Aufmerksamkeit.</a:t>
            </a:r>
          </a:p>
        </p:txBody>
      </p:sp>
      <p:sp>
        <p:nvSpPr>
          <p:cNvPr id="40" name="Rechteck 39"/>
          <p:cNvSpPr/>
          <p:nvPr userDrawn="1"/>
        </p:nvSpPr>
        <p:spPr>
          <a:xfrm>
            <a:off x="6653213" y="206375"/>
            <a:ext cx="2490787" cy="523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75" name="Gruppieren 74"/>
          <p:cNvGrpSpPr/>
          <p:nvPr userDrawn="1"/>
        </p:nvGrpSpPr>
        <p:grpSpPr>
          <a:xfrm>
            <a:off x="6926263" y="293688"/>
            <a:ext cx="1863725" cy="347663"/>
            <a:chOff x="6926263" y="295276"/>
            <a:chExt cx="1863725" cy="347663"/>
          </a:xfrm>
        </p:grpSpPr>
        <p:sp>
          <p:nvSpPr>
            <p:cNvPr id="76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1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8031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1184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solidFill>
            <a:srgbClr val="B7C4CB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0838" y="1701800"/>
            <a:ext cx="8440737" cy="954087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1588" indent="0"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Vielen Dank für Ihre Aufmerksamkeit.</a:t>
            </a:r>
            <a:br>
              <a:rPr lang="de-DE" dirty="0" smtClean="0"/>
            </a:br>
            <a:endParaRPr lang="de-DE" dirty="0"/>
          </a:p>
        </p:txBody>
      </p:sp>
      <p:sp useBgFill="1">
        <p:nvSpPr>
          <p:cNvPr id="37" name="Rechteck 36"/>
          <p:cNvSpPr/>
          <p:nvPr userDrawn="1"/>
        </p:nvSpPr>
        <p:spPr>
          <a:xfrm>
            <a:off x="6653213" y="206375"/>
            <a:ext cx="2490787" cy="52387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77" name="Gruppieren 76"/>
          <p:cNvGrpSpPr/>
          <p:nvPr userDrawn="1"/>
        </p:nvGrpSpPr>
        <p:grpSpPr>
          <a:xfrm>
            <a:off x="6926263" y="293688"/>
            <a:ext cx="1863725" cy="347663"/>
            <a:chOff x="6926263" y="295276"/>
            <a:chExt cx="1863725" cy="347663"/>
          </a:xfrm>
        </p:grpSpPr>
        <p:sp>
          <p:nvSpPr>
            <p:cNvPr id="78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1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683438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mit_Bild/Vertraulichkeitsverme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62455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hteck 38"/>
          <p:cNvSpPr/>
          <p:nvPr userDrawn="1"/>
        </p:nvSpPr>
        <p:spPr>
          <a:xfrm>
            <a:off x="6653213" y="206375"/>
            <a:ext cx="2490787" cy="5238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6926263" y="295276"/>
            <a:ext cx="1863725" cy="347663"/>
            <a:chOff x="6926263" y="295276"/>
            <a:chExt cx="1863725" cy="347663"/>
          </a:xfrm>
        </p:grpSpPr>
        <p:sp>
          <p:nvSpPr>
            <p:cNvPr id="46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solidFill>
            <a:srgbClr val="B7C4CB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0837" y="1701800"/>
            <a:ext cx="8445500" cy="954087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1588" indent="0"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50838" y="2660623"/>
            <a:ext cx="8445500" cy="642965"/>
          </a:xfrm>
        </p:spPr>
        <p:txBody>
          <a:bodyPr lIns="0" rIns="0" anchor="t" anchorCtr="0">
            <a:normAutofit/>
          </a:bodyPr>
          <a:lstStyle>
            <a:lvl1pPr marL="1588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 useBgFill="1">
        <p:nvSpPr>
          <p:cNvPr id="33" name="Rechteck 32"/>
          <p:cNvSpPr/>
          <p:nvPr userDrawn="1"/>
        </p:nvSpPr>
        <p:spPr>
          <a:xfrm>
            <a:off x="6653212" y="209551"/>
            <a:ext cx="2490787" cy="52387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 useBgFill="1">
        <p:nvSpPr>
          <p:cNvPr id="82" name="Rectangle 33"/>
          <p:cNvSpPr>
            <a:spLocks noChangeArrowheads="1"/>
          </p:cNvSpPr>
          <p:nvPr userDrawn="1"/>
        </p:nvSpPr>
        <p:spPr bwMode="auto">
          <a:xfrm>
            <a:off x="3174" y="5911777"/>
            <a:ext cx="4817181" cy="553297"/>
          </a:xfrm>
          <a:prstGeom prst="rect">
            <a:avLst/>
          </a:prstGeom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347258" y="6137391"/>
            <a:ext cx="4134323" cy="122129"/>
            <a:chOff x="347258" y="6137391"/>
            <a:chExt cx="4134323" cy="122129"/>
          </a:xfrm>
        </p:grpSpPr>
        <p:sp>
          <p:nvSpPr>
            <p:cNvPr id="84" name="Freeform 34"/>
            <p:cNvSpPr>
              <a:spLocks noEditPoints="1"/>
            </p:cNvSpPr>
            <p:nvPr userDrawn="1"/>
          </p:nvSpPr>
          <p:spPr bwMode="auto">
            <a:xfrm>
              <a:off x="347258" y="6142701"/>
              <a:ext cx="563916" cy="91331"/>
            </a:xfrm>
            <a:custGeom>
              <a:avLst/>
              <a:gdLst>
                <a:gd name="T0" fmla="*/ 295 w 531"/>
                <a:gd name="T1" fmla="*/ 69 h 86"/>
                <a:gd name="T2" fmla="*/ 307 w 531"/>
                <a:gd name="T3" fmla="*/ 80 h 86"/>
                <a:gd name="T4" fmla="*/ 323 w 531"/>
                <a:gd name="T5" fmla="*/ 69 h 86"/>
                <a:gd name="T6" fmla="*/ 325 w 531"/>
                <a:gd name="T7" fmla="*/ 54 h 86"/>
                <a:gd name="T8" fmla="*/ 451 w 531"/>
                <a:gd name="T9" fmla="*/ 35 h 86"/>
                <a:gd name="T10" fmla="*/ 480 w 531"/>
                <a:gd name="T11" fmla="*/ 46 h 86"/>
                <a:gd name="T12" fmla="*/ 469 w 531"/>
                <a:gd name="T13" fmla="*/ 29 h 86"/>
                <a:gd name="T14" fmla="*/ 531 w 531"/>
                <a:gd name="T15" fmla="*/ 31 h 86"/>
                <a:gd name="T16" fmla="*/ 512 w 531"/>
                <a:gd name="T17" fmla="*/ 46 h 86"/>
                <a:gd name="T18" fmla="*/ 503 w 531"/>
                <a:gd name="T19" fmla="*/ 33 h 86"/>
                <a:gd name="T20" fmla="*/ 510 w 531"/>
                <a:gd name="T21" fmla="*/ 35 h 86"/>
                <a:gd name="T22" fmla="*/ 521 w 531"/>
                <a:gd name="T23" fmla="*/ 22 h 86"/>
                <a:gd name="T24" fmla="*/ 487 w 531"/>
                <a:gd name="T25" fmla="*/ 40 h 86"/>
                <a:gd name="T26" fmla="*/ 453 w 531"/>
                <a:gd name="T27" fmla="*/ 73 h 86"/>
                <a:gd name="T28" fmla="*/ 480 w 531"/>
                <a:gd name="T29" fmla="*/ 76 h 86"/>
                <a:gd name="T30" fmla="*/ 466 w 531"/>
                <a:gd name="T31" fmla="*/ 86 h 86"/>
                <a:gd name="T32" fmla="*/ 440 w 531"/>
                <a:gd name="T33" fmla="*/ 42 h 86"/>
                <a:gd name="T34" fmla="*/ 417 w 531"/>
                <a:gd name="T35" fmla="*/ 22 h 86"/>
                <a:gd name="T36" fmla="*/ 418 w 531"/>
                <a:gd name="T37" fmla="*/ 29 h 86"/>
                <a:gd name="T38" fmla="*/ 400 w 531"/>
                <a:gd name="T39" fmla="*/ 35 h 86"/>
                <a:gd name="T40" fmla="*/ 422 w 531"/>
                <a:gd name="T41" fmla="*/ 54 h 86"/>
                <a:gd name="T42" fmla="*/ 425 w 531"/>
                <a:gd name="T43" fmla="*/ 81 h 86"/>
                <a:gd name="T44" fmla="*/ 403 w 531"/>
                <a:gd name="T45" fmla="*/ 86 h 86"/>
                <a:gd name="T46" fmla="*/ 403 w 531"/>
                <a:gd name="T47" fmla="*/ 79 h 86"/>
                <a:gd name="T48" fmla="*/ 421 w 531"/>
                <a:gd name="T49" fmla="*/ 72 h 86"/>
                <a:gd name="T50" fmla="*/ 400 w 531"/>
                <a:gd name="T51" fmla="*/ 51 h 86"/>
                <a:gd name="T52" fmla="*/ 398 w 531"/>
                <a:gd name="T53" fmla="*/ 28 h 86"/>
                <a:gd name="T54" fmla="*/ 366 w 531"/>
                <a:gd name="T55" fmla="*/ 22 h 86"/>
                <a:gd name="T56" fmla="*/ 376 w 531"/>
                <a:gd name="T57" fmla="*/ 31 h 86"/>
                <a:gd name="T58" fmla="*/ 356 w 531"/>
                <a:gd name="T59" fmla="*/ 32 h 86"/>
                <a:gd name="T60" fmla="*/ 369 w 531"/>
                <a:gd name="T61" fmla="*/ 50 h 86"/>
                <a:gd name="T62" fmla="*/ 381 w 531"/>
                <a:gd name="T63" fmla="*/ 77 h 86"/>
                <a:gd name="T64" fmla="*/ 362 w 531"/>
                <a:gd name="T65" fmla="*/ 86 h 86"/>
                <a:gd name="T66" fmla="*/ 351 w 531"/>
                <a:gd name="T67" fmla="*/ 77 h 86"/>
                <a:gd name="T68" fmla="*/ 373 w 531"/>
                <a:gd name="T69" fmla="*/ 76 h 86"/>
                <a:gd name="T70" fmla="*/ 361 w 531"/>
                <a:gd name="T71" fmla="*/ 55 h 86"/>
                <a:gd name="T72" fmla="*/ 348 w 531"/>
                <a:gd name="T73" fmla="*/ 31 h 86"/>
                <a:gd name="T74" fmla="*/ 366 w 531"/>
                <a:gd name="T75" fmla="*/ 22 h 86"/>
                <a:gd name="T76" fmla="*/ 333 w 531"/>
                <a:gd name="T77" fmla="*/ 72 h 86"/>
                <a:gd name="T78" fmla="*/ 326 w 531"/>
                <a:gd name="T79" fmla="*/ 75 h 86"/>
                <a:gd name="T80" fmla="*/ 307 w 531"/>
                <a:gd name="T81" fmla="*/ 86 h 86"/>
                <a:gd name="T82" fmla="*/ 289 w 531"/>
                <a:gd name="T83" fmla="*/ 76 h 86"/>
                <a:gd name="T84" fmla="*/ 296 w 531"/>
                <a:gd name="T85" fmla="*/ 53 h 86"/>
                <a:gd name="T86" fmla="*/ 325 w 531"/>
                <a:gd name="T87" fmla="*/ 44 h 86"/>
                <a:gd name="T88" fmla="*/ 317 w 531"/>
                <a:gd name="T89" fmla="*/ 29 h 86"/>
                <a:gd name="T90" fmla="*/ 293 w 531"/>
                <a:gd name="T91" fmla="*/ 26 h 86"/>
                <a:gd name="T92" fmla="*/ 175 w 531"/>
                <a:gd name="T93" fmla="*/ 2 h 86"/>
                <a:gd name="T94" fmla="*/ 235 w 531"/>
                <a:gd name="T95" fmla="*/ 2 h 86"/>
                <a:gd name="T96" fmla="*/ 262 w 531"/>
                <a:gd name="T97" fmla="*/ 84 h 86"/>
                <a:gd name="T98" fmla="*/ 198 w 531"/>
                <a:gd name="T99" fmla="*/ 84 h 86"/>
                <a:gd name="T100" fmla="*/ 75 w 531"/>
                <a:gd name="T101" fmla="*/ 2 h 86"/>
                <a:gd name="T102" fmla="*/ 77 w 531"/>
                <a:gd name="T103" fmla="*/ 10 h 86"/>
                <a:gd name="T104" fmla="*/ 9 w 531"/>
                <a:gd name="T105" fmla="*/ 84 h 86"/>
                <a:gd name="T106" fmla="*/ 116 w 531"/>
                <a:gd name="T10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1" h="86">
                  <a:moveTo>
                    <a:pt x="323" y="54"/>
                  </a:moveTo>
                  <a:lnTo>
                    <a:pt x="314" y="54"/>
                  </a:lnTo>
                  <a:lnTo>
                    <a:pt x="304" y="57"/>
                  </a:lnTo>
                  <a:lnTo>
                    <a:pt x="297" y="61"/>
                  </a:lnTo>
                  <a:lnTo>
                    <a:pt x="295" y="69"/>
                  </a:lnTo>
                  <a:lnTo>
                    <a:pt x="296" y="73"/>
                  </a:lnTo>
                  <a:lnTo>
                    <a:pt x="297" y="76"/>
                  </a:lnTo>
                  <a:lnTo>
                    <a:pt x="300" y="77"/>
                  </a:lnTo>
                  <a:lnTo>
                    <a:pt x="304" y="79"/>
                  </a:lnTo>
                  <a:lnTo>
                    <a:pt x="307" y="80"/>
                  </a:lnTo>
                  <a:lnTo>
                    <a:pt x="312" y="79"/>
                  </a:lnTo>
                  <a:lnTo>
                    <a:pt x="317" y="77"/>
                  </a:lnTo>
                  <a:lnTo>
                    <a:pt x="319" y="75"/>
                  </a:lnTo>
                  <a:lnTo>
                    <a:pt x="322" y="72"/>
                  </a:lnTo>
                  <a:lnTo>
                    <a:pt x="323" y="69"/>
                  </a:lnTo>
                  <a:lnTo>
                    <a:pt x="325" y="66"/>
                  </a:lnTo>
                  <a:lnTo>
                    <a:pt x="325" y="64"/>
                  </a:lnTo>
                  <a:lnTo>
                    <a:pt x="325" y="59"/>
                  </a:lnTo>
                  <a:lnTo>
                    <a:pt x="325" y="58"/>
                  </a:lnTo>
                  <a:lnTo>
                    <a:pt x="325" y="54"/>
                  </a:lnTo>
                  <a:lnTo>
                    <a:pt x="323" y="54"/>
                  </a:lnTo>
                  <a:close/>
                  <a:moveTo>
                    <a:pt x="465" y="29"/>
                  </a:moveTo>
                  <a:lnTo>
                    <a:pt x="459" y="29"/>
                  </a:lnTo>
                  <a:lnTo>
                    <a:pt x="455" y="32"/>
                  </a:lnTo>
                  <a:lnTo>
                    <a:pt x="451" y="35"/>
                  </a:lnTo>
                  <a:lnTo>
                    <a:pt x="450" y="40"/>
                  </a:lnTo>
                  <a:lnTo>
                    <a:pt x="447" y="44"/>
                  </a:lnTo>
                  <a:lnTo>
                    <a:pt x="447" y="50"/>
                  </a:lnTo>
                  <a:lnTo>
                    <a:pt x="480" y="50"/>
                  </a:lnTo>
                  <a:lnTo>
                    <a:pt x="480" y="46"/>
                  </a:lnTo>
                  <a:lnTo>
                    <a:pt x="479" y="42"/>
                  </a:lnTo>
                  <a:lnTo>
                    <a:pt x="477" y="37"/>
                  </a:lnTo>
                  <a:lnTo>
                    <a:pt x="476" y="33"/>
                  </a:lnTo>
                  <a:lnTo>
                    <a:pt x="473" y="31"/>
                  </a:lnTo>
                  <a:lnTo>
                    <a:pt x="469" y="29"/>
                  </a:lnTo>
                  <a:lnTo>
                    <a:pt x="465" y="29"/>
                  </a:lnTo>
                  <a:close/>
                  <a:moveTo>
                    <a:pt x="525" y="22"/>
                  </a:moveTo>
                  <a:lnTo>
                    <a:pt x="528" y="22"/>
                  </a:lnTo>
                  <a:lnTo>
                    <a:pt x="531" y="22"/>
                  </a:lnTo>
                  <a:lnTo>
                    <a:pt x="531" y="31"/>
                  </a:lnTo>
                  <a:lnTo>
                    <a:pt x="528" y="31"/>
                  </a:lnTo>
                  <a:lnTo>
                    <a:pt x="525" y="31"/>
                  </a:lnTo>
                  <a:lnTo>
                    <a:pt x="519" y="32"/>
                  </a:lnTo>
                  <a:lnTo>
                    <a:pt x="513" y="39"/>
                  </a:lnTo>
                  <a:lnTo>
                    <a:pt x="512" y="46"/>
                  </a:lnTo>
                  <a:lnTo>
                    <a:pt x="510" y="54"/>
                  </a:lnTo>
                  <a:lnTo>
                    <a:pt x="510" y="84"/>
                  </a:lnTo>
                  <a:lnTo>
                    <a:pt x="503" y="84"/>
                  </a:lnTo>
                  <a:lnTo>
                    <a:pt x="503" y="37"/>
                  </a:lnTo>
                  <a:lnTo>
                    <a:pt x="503" y="33"/>
                  </a:lnTo>
                  <a:lnTo>
                    <a:pt x="503" y="29"/>
                  </a:lnTo>
                  <a:lnTo>
                    <a:pt x="502" y="26"/>
                  </a:lnTo>
                  <a:lnTo>
                    <a:pt x="502" y="24"/>
                  </a:lnTo>
                  <a:lnTo>
                    <a:pt x="510" y="24"/>
                  </a:lnTo>
                  <a:lnTo>
                    <a:pt x="510" y="35"/>
                  </a:lnTo>
                  <a:lnTo>
                    <a:pt x="510" y="35"/>
                  </a:lnTo>
                  <a:lnTo>
                    <a:pt x="512" y="32"/>
                  </a:lnTo>
                  <a:lnTo>
                    <a:pt x="514" y="28"/>
                  </a:lnTo>
                  <a:lnTo>
                    <a:pt x="517" y="25"/>
                  </a:lnTo>
                  <a:lnTo>
                    <a:pt x="521" y="22"/>
                  </a:lnTo>
                  <a:lnTo>
                    <a:pt x="525" y="22"/>
                  </a:lnTo>
                  <a:close/>
                  <a:moveTo>
                    <a:pt x="465" y="22"/>
                  </a:moveTo>
                  <a:lnTo>
                    <a:pt x="476" y="25"/>
                  </a:lnTo>
                  <a:lnTo>
                    <a:pt x="483" y="31"/>
                  </a:lnTo>
                  <a:lnTo>
                    <a:pt x="487" y="40"/>
                  </a:lnTo>
                  <a:lnTo>
                    <a:pt x="488" y="53"/>
                  </a:lnTo>
                  <a:lnTo>
                    <a:pt x="488" y="57"/>
                  </a:lnTo>
                  <a:lnTo>
                    <a:pt x="447" y="57"/>
                  </a:lnTo>
                  <a:lnTo>
                    <a:pt x="448" y="65"/>
                  </a:lnTo>
                  <a:lnTo>
                    <a:pt x="453" y="73"/>
                  </a:lnTo>
                  <a:lnTo>
                    <a:pt x="458" y="77"/>
                  </a:lnTo>
                  <a:lnTo>
                    <a:pt x="468" y="80"/>
                  </a:lnTo>
                  <a:lnTo>
                    <a:pt x="472" y="79"/>
                  </a:lnTo>
                  <a:lnTo>
                    <a:pt x="476" y="77"/>
                  </a:lnTo>
                  <a:lnTo>
                    <a:pt x="480" y="76"/>
                  </a:lnTo>
                  <a:lnTo>
                    <a:pt x="484" y="75"/>
                  </a:lnTo>
                  <a:lnTo>
                    <a:pt x="484" y="83"/>
                  </a:lnTo>
                  <a:lnTo>
                    <a:pt x="479" y="84"/>
                  </a:lnTo>
                  <a:lnTo>
                    <a:pt x="472" y="86"/>
                  </a:lnTo>
                  <a:lnTo>
                    <a:pt x="466" y="86"/>
                  </a:lnTo>
                  <a:lnTo>
                    <a:pt x="454" y="83"/>
                  </a:lnTo>
                  <a:lnTo>
                    <a:pt x="446" y="77"/>
                  </a:lnTo>
                  <a:lnTo>
                    <a:pt x="440" y="66"/>
                  </a:lnTo>
                  <a:lnTo>
                    <a:pt x="439" y="54"/>
                  </a:lnTo>
                  <a:lnTo>
                    <a:pt x="440" y="42"/>
                  </a:lnTo>
                  <a:lnTo>
                    <a:pt x="446" y="31"/>
                  </a:lnTo>
                  <a:lnTo>
                    <a:pt x="454" y="25"/>
                  </a:lnTo>
                  <a:lnTo>
                    <a:pt x="465" y="22"/>
                  </a:lnTo>
                  <a:close/>
                  <a:moveTo>
                    <a:pt x="413" y="22"/>
                  </a:moveTo>
                  <a:lnTo>
                    <a:pt x="417" y="22"/>
                  </a:lnTo>
                  <a:lnTo>
                    <a:pt x="422" y="24"/>
                  </a:lnTo>
                  <a:lnTo>
                    <a:pt x="428" y="25"/>
                  </a:lnTo>
                  <a:lnTo>
                    <a:pt x="427" y="32"/>
                  </a:lnTo>
                  <a:lnTo>
                    <a:pt x="422" y="31"/>
                  </a:lnTo>
                  <a:lnTo>
                    <a:pt x="418" y="29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6" y="31"/>
                  </a:lnTo>
                  <a:lnTo>
                    <a:pt x="402" y="32"/>
                  </a:lnTo>
                  <a:lnTo>
                    <a:pt x="400" y="35"/>
                  </a:lnTo>
                  <a:lnTo>
                    <a:pt x="400" y="39"/>
                  </a:lnTo>
                  <a:lnTo>
                    <a:pt x="402" y="43"/>
                  </a:lnTo>
                  <a:lnTo>
                    <a:pt x="407" y="47"/>
                  </a:lnTo>
                  <a:lnTo>
                    <a:pt x="416" y="50"/>
                  </a:lnTo>
                  <a:lnTo>
                    <a:pt x="422" y="54"/>
                  </a:lnTo>
                  <a:lnTo>
                    <a:pt x="428" y="61"/>
                  </a:lnTo>
                  <a:lnTo>
                    <a:pt x="429" y="69"/>
                  </a:lnTo>
                  <a:lnTo>
                    <a:pt x="429" y="73"/>
                  </a:lnTo>
                  <a:lnTo>
                    <a:pt x="428" y="77"/>
                  </a:lnTo>
                  <a:lnTo>
                    <a:pt x="425" y="81"/>
                  </a:lnTo>
                  <a:lnTo>
                    <a:pt x="421" y="83"/>
                  </a:lnTo>
                  <a:lnTo>
                    <a:pt x="417" y="84"/>
                  </a:lnTo>
                  <a:lnTo>
                    <a:pt x="413" y="86"/>
                  </a:lnTo>
                  <a:lnTo>
                    <a:pt x="409" y="86"/>
                  </a:lnTo>
                  <a:lnTo>
                    <a:pt x="403" y="86"/>
                  </a:lnTo>
                  <a:lnTo>
                    <a:pt x="398" y="84"/>
                  </a:lnTo>
                  <a:lnTo>
                    <a:pt x="392" y="83"/>
                  </a:lnTo>
                  <a:lnTo>
                    <a:pt x="392" y="76"/>
                  </a:lnTo>
                  <a:lnTo>
                    <a:pt x="398" y="77"/>
                  </a:lnTo>
                  <a:lnTo>
                    <a:pt x="403" y="79"/>
                  </a:lnTo>
                  <a:lnTo>
                    <a:pt x="409" y="80"/>
                  </a:lnTo>
                  <a:lnTo>
                    <a:pt x="413" y="79"/>
                  </a:lnTo>
                  <a:lnTo>
                    <a:pt x="416" y="77"/>
                  </a:lnTo>
                  <a:lnTo>
                    <a:pt x="420" y="76"/>
                  </a:lnTo>
                  <a:lnTo>
                    <a:pt x="421" y="72"/>
                  </a:lnTo>
                  <a:lnTo>
                    <a:pt x="422" y="69"/>
                  </a:lnTo>
                  <a:lnTo>
                    <a:pt x="420" y="62"/>
                  </a:lnTo>
                  <a:lnTo>
                    <a:pt x="414" y="58"/>
                  </a:lnTo>
                  <a:lnTo>
                    <a:pt x="407" y="55"/>
                  </a:lnTo>
                  <a:lnTo>
                    <a:pt x="400" y="51"/>
                  </a:lnTo>
                  <a:lnTo>
                    <a:pt x="395" y="46"/>
                  </a:lnTo>
                  <a:lnTo>
                    <a:pt x="392" y="39"/>
                  </a:lnTo>
                  <a:lnTo>
                    <a:pt x="394" y="35"/>
                  </a:lnTo>
                  <a:lnTo>
                    <a:pt x="395" y="31"/>
                  </a:lnTo>
                  <a:lnTo>
                    <a:pt x="398" y="28"/>
                  </a:lnTo>
                  <a:lnTo>
                    <a:pt x="400" y="25"/>
                  </a:lnTo>
                  <a:lnTo>
                    <a:pt x="405" y="24"/>
                  </a:lnTo>
                  <a:lnTo>
                    <a:pt x="409" y="22"/>
                  </a:lnTo>
                  <a:lnTo>
                    <a:pt x="413" y="22"/>
                  </a:lnTo>
                  <a:close/>
                  <a:moveTo>
                    <a:pt x="366" y="22"/>
                  </a:moveTo>
                  <a:lnTo>
                    <a:pt x="370" y="22"/>
                  </a:lnTo>
                  <a:lnTo>
                    <a:pt x="376" y="24"/>
                  </a:lnTo>
                  <a:lnTo>
                    <a:pt x="381" y="25"/>
                  </a:lnTo>
                  <a:lnTo>
                    <a:pt x="380" y="32"/>
                  </a:lnTo>
                  <a:lnTo>
                    <a:pt x="376" y="31"/>
                  </a:lnTo>
                  <a:lnTo>
                    <a:pt x="372" y="29"/>
                  </a:lnTo>
                  <a:lnTo>
                    <a:pt x="367" y="29"/>
                  </a:lnTo>
                  <a:lnTo>
                    <a:pt x="362" y="29"/>
                  </a:lnTo>
                  <a:lnTo>
                    <a:pt x="359" y="31"/>
                  </a:lnTo>
                  <a:lnTo>
                    <a:pt x="356" y="32"/>
                  </a:lnTo>
                  <a:lnTo>
                    <a:pt x="355" y="35"/>
                  </a:lnTo>
                  <a:lnTo>
                    <a:pt x="354" y="39"/>
                  </a:lnTo>
                  <a:lnTo>
                    <a:pt x="356" y="43"/>
                  </a:lnTo>
                  <a:lnTo>
                    <a:pt x="362" y="47"/>
                  </a:lnTo>
                  <a:lnTo>
                    <a:pt x="369" y="50"/>
                  </a:lnTo>
                  <a:lnTo>
                    <a:pt x="376" y="54"/>
                  </a:lnTo>
                  <a:lnTo>
                    <a:pt x="381" y="61"/>
                  </a:lnTo>
                  <a:lnTo>
                    <a:pt x="384" y="69"/>
                  </a:lnTo>
                  <a:lnTo>
                    <a:pt x="383" y="73"/>
                  </a:lnTo>
                  <a:lnTo>
                    <a:pt x="381" y="77"/>
                  </a:lnTo>
                  <a:lnTo>
                    <a:pt x="378" y="81"/>
                  </a:lnTo>
                  <a:lnTo>
                    <a:pt x="374" y="83"/>
                  </a:lnTo>
                  <a:lnTo>
                    <a:pt x="370" y="84"/>
                  </a:lnTo>
                  <a:lnTo>
                    <a:pt x="366" y="86"/>
                  </a:lnTo>
                  <a:lnTo>
                    <a:pt x="362" y="86"/>
                  </a:lnTo>
                  <a:lnTo>
                    <a:pt x="356" y="86"/>
                  </a:lnTo>
                  <a:lnTo>
                    <a:pt x="351" y="84"/>
                  </a:lnTo>
                  <a:lnTo>
                    <a:pt x="345" y="83"/>
                  </a:lnTo>
                  <a:lnTo>
                    <a:pt x="347" y="76"/>
                  </a:lnTo>
                  <a:lnTo>
                    <a:pt x="351" y="77"/>
                  </a:lnTo>
                  <a:lnTo>
                    <a:pt x="356" y="79"/>
                  </a:lnTo>
                  <a:lnTo>
                    <a:pt x="362" y="80"/>
                  </a:lnTo>
                  <a:lnTo>
                    <a:pt x="366" y="79"/>
                  </a:lnTo>
                  <a:lnTo>
                    <a:pt x="370" y="77"/>
                  </a:lnTo>
                  <a:lnTo>
                    <a:pt x="373" y="76"/>
                  </a:lnTo>
                  <a:lnTo>
                    <a:pt x="374" y="72"/>
                  </a:lnTo>
                  <a:lnTo>
                    <a:pt x="376" y="69"/>
                  </a:lnTo>
                  <a:lnTo>
                    <a:pt x="373" y="62"/>
                  </a:lnTo>
                  <a:lnTo>
                    <a:pt x="367" y="58"/>
                  </a:lnTo>
                  <a:lnTo>
                    <a:pt x="361" y="55"/>
                  </a:lnTo>
                  <a:lnTo>
                    <a:pt x="354" y="51"/>
                  </a:lnTo>
                  <a:lnTo>
                    <a:pt x="348" y="46"/>
                  </a:lnTo>
                  <a:lnTo>
                    <a:pt x="347" y="39"/>
                  </a:lnTo>
                  <a:lnTo>
                    <a:pt x="347" y="35"/>
                  </a:lnTo>
                  <a:lnTo>
                    <a:pt x="348" y="31"/>
                  </a:lnTo>
                  <a:lnTo>
                    <a:pt x="351" y="28"/>
                  </a:lnTo>
                  <a:lnTo>
                    <a:pt x="354" y="25"/>
                  </a:lnTo>
                  <a:lnTo>
                    <a:pt x="358" y="24"/>
                  </a:lnTo>
                  <a:lnTo>
                    <a:pt x="362" y="22"/>
                  </a:lnTo>
                  <a:lnTo>
                    <a:pt x="366" y="22"/>
                  </a:lnTo>
                  <a:close/>
                  <a:moveTo>
                    <a:pt x="311" y="22"/>
                  </a:moveTo>
                  <a:lnTo>
                    <a:pt x="323" y="25"/>
                  </a:lnTo>
                  <a:lnTo>
                    <a:pt x="330" y="32"/>
                  </a:lnTo>
                  <a:lnTo>
                    <a:pt x="333" y="44"/>
                  </a:lnTo>
                  <a:lnTo>
                    <a:pt x="333" y="72"/>
                  </a:lnTo>
                  <a:lnTo>
                    <a:pt x="333" y="79"/>
                  </a:lnTo>
                  <a:lnTo>
                    <a:pt x="333" y="84"/>
                  </a:lnTo>
                  <a:lnTo>
                    <a:pt x="326" y="84"/>
                  </a:lnTo>
                  <a:lnTo>
                    <a:pt x="326" y="75"/>
                  </a:lnTo>
                  <a:lnTo>
                    <a:pt x="326" y="75"/>
                  </a:lnTo>
                  <a:lnTo>
                    <a:pt x="323" y="79"/>
                  </a:lnTo>
                  <a:lnTo>
                    <a:pt x="319" y="81"/>
                  </a:lnTo>
                  <a:lnTo>
                    <a:pt x="315" y="84"/>
                  </a:lnTo>
                  <a:lnTo>
                    <a:pt x="311" y="86"/>
                  </a:lnTo>
                  <a:lnTo>
                    <a:pt x="307" y="86"/>
                  </a:lnTo>
                  <a:lnTo>
                    <a:pt x="301" y="86"/>
                  </a:lnTo>
                  <a:lnTo>
                    <a:pt x="296" y="84"/>
                  </a:lnTo>
                  <a:lnTo>
                    <a:pt x="293" y="81"/>
                  </a:lnTo>
                  <a:lnTo>
                    <a:pt x="290" y="79"/>
                  </a:lnTo>
                  <a:lnTo>
                    <a:pt x="289" y="76"/>
                  </a:lnTo>
                  <a:lnTo>
                    <a:pt x="288" y="73"/>
                  </a:lnTo>
                  <a:lnTo>
                    <a:pt x="286" y="70"/>
                  </a:lnTo>
                  <a:lnTo>
                    <a:pt x="286" y="69"/>
                  </a:lnTo>
                  <a:lnTo>
                    <a:pt x="289" y="58"/>
                  </a:lnTo>
                  <a:lnTo>
                    <a:pt x="296" y="53"/>
                  </a:lnTo>
                  <a:lnTo>
                    <a:pt x="304" y="48"/>
                  </a:lnTo>
                  <a:lnTo>
                    <a:pt x="314" y="47"/>
                  </a:lnTo>
                  <a:lnTo>
                    <a:pt x="323" y="47"/>
                  </a:lnTo>
                  <a:lnTo>
                    <a:pt x="325" y="47"/>
                  </a:lnTo>
                  <a:lnTo>
                    <a:pt x="325" y="44"/>
                  </a:lnTo>
                  <a:lnTo>
                    <a:pt x="325" y="40"/>
                  </a:lnTo>
                  <a:lnTo>
                    <a:pt x="325" y="35"/>
                  </a:lnTo>
                  <a:lnTo>
                    <a:pt x="322" y="32"/>
                  </a:lnTo>
                  <a:lnTo>
                    <a:pt x="319" y="31"/>
                  </a:lnTo>
                  <a:lnTo>
                    <a:pt x="317" y="29"/>
                  </a:lnTo>
                  <a:lnTo>
                    <a:pt x="311" y="29"/>
                  </a:lnTo>
                  <a:lnTo>
                    <a:pt x="306" y="29"/>
                  </a:lnTo>
                  <a:lnTo>
                    <a:pt x="300" y="31"/>
                  </a:lnTo>
                  <a:lnTo>
                    <a:pt x="293" y="33"/>
                  </a:lnTo>
                  <a:lnTo>
                    <a:pt x="293" y="26"/>
                  </a:lnTo>
                  <a:lnTo>
                    <a:pt x="297" y="25"/>
                  </a:lnTo>
                  <a:lnTo>
                    <a:pt x="303" y="24"/>
                  </a:lnTo>
                  <a:lnTo>
                    <a:pt x="307" y="22"/>
                  </a:lnTo>
                  <a:lnTo>
                    <a:pt x="311" y="22"/>
                  </a:lnTo>
                  <a:close/>
                  <a:moveTo>
                    <a:pt x="175" y="2"/>
                  </a:moveTo>
                  <a:lnTo>
                    <a:pt x="183" y="2"/>
                  </a:lnTo>
                  <a:lnTo>
                    <a:pt x="204" y="75"/>
                  </a:lnTo>
                  <a:lnTo>
                    <a:pt x="204" y="75"/>
                  </a:lnTo>
                  <a:lnTo>
                    <a:pt x="226" y="2"/>
                  </a:lnTo>
                  <a:lnTo>
                    <a:pt x="235" y="2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78" y="2"/>
                  </a:lnTo>
                  <a:lnTo>
                    <a:pt x="285" y="2"/>
                  </a:lnTo>
                  <a:lnTo>
                    <a:pt x="262" y="84"/>
                  </a:lnTo>
                  <a:lnTo>
                    <a:pt x="252" y="84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09" y="84"/>
                  </a:lnTo>
                  <a:lnTo>
                    <a:pt x="198" y="84"/>
                  </a:lnTo>
                  <a:lnTo>
                    <a:pt x="175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35"/>
            <p:cNvSpPr>
              <a:spLocks noEditPoints="1"/>
            </p:cNvSpPr>
            <p:nvPr userDrawn="1"/>
          </p:nvSpPr>
          <p:spPr bwMode="auto">
            <a:xfrm>
              <a:off x="1090650" y="6137391"/>
              <a:ext cx="490639" cy="96641"/>
            </a:xfrm>
            <a:custGeom>
              <a:avLst/>
              <a:gdLst>
                <a:gd name="T0" fmla="*/ 252 w 462"/>
                <a:gd name="T1" fmla="*/ 74 h 91"/>
                <a:gd name="T2" fmla="*/ 264 w 462"/>
                <a:gd name="T3" fmla="*/ 85 h 91"/>
                <a:gd name="T4" fmla="*/ 280 w 462"/>
                <a:gd name="T5" fmla="*/ 74 h 91"/>
                <a:gd name="T6" fmla="*/ 283 w 462"/>
                <a:gd name="T7" fmla="*/ 59 h 91"/>
                <a:gd name="T8" fmla="*/ 208 w 462"/>
                <a:gd name="T9" fmla="*/ 81 h 91"/>
                <a:gd name="T10" fmla="*/ 214 w 462"/>
                <a:gd name="T11" fmla="*/ 52 h 91"/>
                <a:gd name="T12" fmla="*/ 390 w 462"/>
                <a:gd name="T13" fmla="*/ 34 h 91"/>
                <a:gd name="T14" fmla="*/ 378 w 462"/>
                <a:gd name="T15" fmla="*/ 55 h 91"/>
                <a:gd name="T16" fmla="*/ 407 w 462"/>
                <a:gd name="T17" fmla="*/ 38 h 91"/>
                <a:gd name="T18" fmla="*/ 322 w 462"/>
                <a:gd name="T19" fmla="*/ 36 h 91"/>
                <a:gd name="T20" fmla="*/ 316 w 462"/>
                <a:gd name="T21" fmla="*/ 77 h 91"/>
                <a:gd name="T22" fmla="*/ 348 w 462"/>
                <a:gd name="T23" fmla="*/ 67 h 91"/>
                <a:gd name="T24" fmla="*/ 330 w 462"/>
                <a:gd name="T25" fmla="*/ 34 h 91"/>
                <a:gd name="T26" fmla="*/ 459 w 462"/>
                <a:gd name="T27" fmla="*/ 36 h 91"/>
                <a:gd name="T28" fmla="*/ 441 w 462"/>
                <a:gd name="T29" fmla="*/ 59 h 91"/>
                <a:gd name="T30" fmla="*/ 433 w 462"/>
                <a:gd name="T31" fmla="*/ 34 h 91"/>
                <a:gd name="T32" fmla="*/ 441 w 462"/>
                <a:gd name="T33" fmla="*/ 40 h 91"/>
                <a:gd name="T34" fmla="*/ 456 w 462"/>
                <a:gd name="T35" fmla="*/ 27 h 91"/>
                <a:gd name="T36" fmla="*/ 419 w 462"/>
                <a:gd name="T37" fmla="*/ 58 h 91"/>
                <a:gd name="T38" fmla="*/ 389 w 462"/>
                <a:gd name="T39" fmla="*/ 82 h 91"/>
                <a:gd name="T40" fmla="*/ 415 w 462"/>
                <a:gd name="T41" fmla="*/ 80 h 91"/>
                <a:gd name="T42" fmla="*/ 385 w 462"/>
                <a:gd name="T43" fmla="*/ 88 h 91"/>
                <a:gd name="T44" fmla="*/ 377 w 462"/>
                <a:gd name="T45" fmla="*/ 36 h 91"/>
                <a:gd name="T46" fmla="*/ 287 w 462"/>
                <a:gd name="T47" fmla="*/ 37 h 91"/>
                <a:gd name="T48" fmla="*/ 283 w 462"/>
                <a:gd name="T49" fmla="*/ 89 h 91"/>
                <a:gd name="T50" fmla="*/ 272 w 462"/>
                <a:gd name="T51" fmla="*/ 89 h 91"/>
                <a:gd name="T52" fmla="*/ 250 w 462"/>
                <a:gd name="T53" fmla="*/ 86 h 91"/>
                <a:gd name="T54" fmla="*/ 243 w 462"/>
                <a:gd name="T55" fmla="*/ 74 h 91"/>
                <a:gd name="T56" fmla="*/ 280 w 462"/>
                <a:gd name="T57" fmla="*/ 52 h 91"/>
                <a:gd name="T58" fmla="*/ 279 w 462"/>
                <a:gd name="T59" fmla="*/ 37 h 91"/>
                <a:gd name="T60" fmla="*/ 257 w 462"/>
                <a:gd name="T61" fmla="*/ 36 h 91"/>
                <a:gd name="T62" fmla="*/ 264 w 462"/>
                <a:gd name="T63" fmla="*/ 27 h 91"/>
                <a:gd name="T64" fmla="*/ 203 w 462"/>
                <a:gd name="T65" fmla="*/ 42 h 91"/>
                <a:gd name="T66" fmla="*/ 219 w 462"/>
                <a:gd name="T67" fmla="*/ 36 h 91"/>
                <a:gd name="T68" fmla="*/ 216 w 462"/>
                <a:gd name="T69" fmla="*/ 16 h 91"/>
                <a:gd name="T70" fmla="*/ 191 w 462"/>
                <a:gd name="T71" fmla="*/ 14 h 91"/>
                <a:gd name="T72" fmla="*/ 275 w 462"/>
                <a:gd name="T73" fmla="*/ 8 h 91"/>
                <a:gd name="T74" fmla="*/ 254 w 462"/>
                <a:gd name="T75" fmla="*/ 8 h 91"/>
                <a:gd name="T76" fmla="*/ 227 w 462"/>
                <a:gd name="T77" fmla="*/ 16 h 91"/>
                <a:gd name="T78" fmla="*/ 219 w 462"/>
                <a:gd name="T79" fmla="*/ 44 h 91"/>
                <a:gd name="T80" fmla="*/ 228 w 462"/>
                <a:gd name="T81" fmla="*/ 55 h 91"/>
                <a:gd name="T82" fmla="*/ 212 w 462"/>
                <a:gd name="T83" fmla="*/ 88 h 91"/>
                <a:gd name="T84" fmla="*/ 12 w 462"/>
                <a:gd name="T85" fmla="*/ 7 h 91"/>
                <a:gd name="T86" fmla="*/ 77 w 462"/>
                <a:gd name="T87" fmla="*/ 89 h 91"/>
                <a:gd name="T88" fmla="*/ 8 w 462"/>
                <a:gd name="T89" fmla="*/ 15 h 91"/>
                <a:gd name="T90" fmla="*/ 154 w 462"/>
                <a:gd name="T91" fmla="*/ 5 h 91"/>
                <a:gd name="T92" fmla="*/ 348 w 462"/>
                <a:gd name="T93" fmla="*/ 0 h 91"/>
                <a:gd name="T94" fmla="*/ 348 w 462"/>
                <a:gd name="T95" fmla="*/ 80 h 91"/>
                <a:gd name="T96" fmla="*/ 319 w 462"/>
                <a:gd name="T97" fmla="*/ 88 h 91"/>
                <a:gd name="T98" fmla="*/ 311 w 462"/>
                <a:gd name="T99" fmla="*/ 36 h 91"/>
                <a:gd name="T100" fmla="*/ 342 w 462"/>
                <a:gd name="T101" fmla="*/ 31 h 91"/>
                <a:gd name="T102" fmla="*/ 348 w 462"/>
                <a:gd name="T10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62" h="91">
                  <a:moveTo>
                    <a:pt x="280" y="59"/>
                  </a:moveTo>
                  <a:lnTo>
                    <a:pt x="271" y="59"/>
                  </a:lnTo>
                  <a:lnTo>
                    <a:pt x="261" y="62"/>
                  </a:lnTo>
                  <a:lnTo>
                    <a:pt x="254" y="66"/>
                  </a:lnTo>
                  <a:lnTo>
                    <a:pt x="252" y="74"/>
                  </a:lnTo>
                  <a:lnTo>
                    <a:pt x="253" y="78"/>
                  </a:lnTo>
                  <a:lnTo>
                    <a:pt x="254" y="81"/>
                  </a:lnTo>
                  <a:lnTo>
                    <a:pt x="257" y="82"/>
                  </a:lnTo>
                  <a:lnTo>
                    <a:pt x="261" y="84"/>
                  </a:lnTo>
                  <a:lnTo>
                    <a:pt x="264" y="85"/>
                  </a:lnTo>
                  <a:lnTo>
                    <a:pt x="269" y="84"/>
                  </a:lnTo>
                  <a:lnTo>
                    <a:pt x="274" y="82"/>
                  </a:lnTo>
                  <a:lnTo>
                    <a:pt x="278" y="80"/>
                  </a:lnTo>
                  <a:lnTo>
                    <a:pt x="279" y="77"/>
                  </a:lnTo>
                  <a:lnTo>
                    <a:pt x="280" y="74"/>
                  </a:lnTo>
                  <a:lnTo>
                    <a:pt x="282" y="71"/>
                  </a:lnTo>
                  <a:lnTo>
                    <a:pt x="282" y="69"/>
                  </a:lnTo>
                  <a:lnTo>
                    <a:pt x="282" y="64"/>
                  </a:lnTo>
                  <a:lnTo>
                    <a:pt x="283" y="63"/>
                  </a:lnTo>
                  <a:lnTo>
                    <a:pt x="283" y="59"/>
                  </a:lnTo>
                  <a:lnTo>
                    <a:pt x="280" y="59"/>
                  </a:lnTo>
                  <a:close/>
                  <a:moveTo>
                    <a:pt x="191" y="49"/>
                  </a:moveTo>
                  <a:lnTo>
                    <a:pt x="191" y="82"/>
                  </a:lnTo>
                  <a:lnTo>
                    <a:pt x="199" y="82"/>
                  </a:lnTo>
                  <a:lnTo>
                    <a:pt x="208" y="81"/>
                  </a:lnTo>
                  <a:lnTo>
                    <a:pt x="214" y="80"/>
                  </a:lnTo>
                  <a:lnTo>
                    <a:pt x="220" y="74"/>
                  </a:lnTo>
                  <a:lnTo>
                    <a:pt x="223" y="66"/>
                  </a:lnTo>
                  <a:lnTo>
                    <a:pt x="220" y="58"/>
                  </a:lnTo>
                  <a:lnTo>
                    <a:pt x="214" y="52"/>
                  </a:lnTo>
                  <a:lnTo>
                    <a:pt x="206" y="51"/>
                  </a:lnTo>
                  <a:lnTo>
                    <a:pt x="198" y="49"/>
                  </a:lnTo>
                  <a:lnTo>
                    <a:pt x="191" y="49"/>
                  </a:lnTo>
                  <a:close/>
                  <a:moveTo>
                    <a:pt x="396" y="34"/>
                  </a:moveTo>
                  <a:lnTo>
                    <a:pt x="390" y="34"/>
                  </a:lnTo>
                  <a:lnTo>
                    <a:pt x="386" y="37"/>
                  </a:lnTo>
                  <a:lnTo>
                    <a:pt x="382" y="40"/>
                  </a:lnTo>
                  <a:lnTo>
                    <a:pt x="379" y="45"/>
                  </a:lnTo>
                  <a:lnTo>
                    <a:pt x="378" y="49"/>
                  </a:lnTo>
                  <a:lnTo>
                    <a:pt x="378" y="55"/>
                  </a:lnTo>
                  <a:lnTo>
                    <a:pt x="411" y="55"/>
                  </a:lnTo>
                  <a:lnTo>
                    <a:pt x="411" y="51"/>
                  </a:lnTo>
                  <a:lnTo>
                    <a:pt x="410" y="47"/>
                  </a:lnTo>
                  <a:lnTo>
                    <a:pt x="408" y="42"/>
                  </a:lnTo>
                  <a:lnTo>
                    <a:pt x="407" y="38"/>
                  </a:lnTo>
                  <a:lnTo>
                    <a:pt x="404" y="36"/>
                  </a:lnTo>
                  <a:lnTo>
                    <a:pt x="400" y="34"/>
                  </a:lnTo>
                  <a:lnTo>
                    <a:pt x="396" y="34"/>
                  </a:lnTo>
                  <a:close/>
                  <a:moveTo>
                    <a:pt x="330" y="34"/>
                  </a:moveTo>
                  <a:lnTo>
                    <a:pt x="322" y="36"/>
                  </a:lnTo>
                  <a:lnTo>
                    <a:pt x="316" y="42"/>
                  </a:lnTo>
                  <a:lnTo>
                    <a:pt x="313" y="51"/>
                  </a:lnTo>
                  <a:lnTo>
                    <a:pt x="312" y="59"/>
                  </a:lnTo>
                  <a:lnTo>
                    <a:pt x="313" y="69"/>
                  </a:lnTo>
                  <a:lnTo>
                    <a:pt x="316" y="77"/>
                  </a:lnTo>
                  <a:lnTo>
                    <a:pt x="322" y="82"/>
                  </a:lnTo>
                  <a:lnTo>
                    <a:pt x="330" y="85"/>
                  </a:lnTo>
                  <a:lnTo>
                    <a:pt x="340" y="82"/>
                  </a:lnTo>
                  <a:lnTo>
                    <a:pt x="345" y="75"/>
                  </a:lnTo>
                  <a:lnTo>
                    <a:pt x="348" y="67"/>
                  </a:lnTo>
                  <a:lnTo>
                    <a:pt x="348" y="59"/>
                  </a:lnTo>
                  <a:lnTo>
                    <a:pt x="348" y="51"/>
                  </a:lnTo>
                  <a:lnTo>
                    <a:pt x="345" y="42"/>
                  </a:lnTo>
                  <a:lnTo>
                    <a:pt x="340" y="36"/>
                  </a:lnTo>
                  <a:lnTo>
                    <a:pt x="330" y="34"/>
                  </a:lnTo>
                  <a:close/>
                  <a:moveTo>
                    <a:pt x="456" y="27"/>
                  </a:moveTo>
                  <a:lnTo>
                    <a:pt x="459" y="27"/>
                  </a:lnTo>
                  <a:lnTo>
                    <a:pt x="462" y="27"/>
                  </a:lnTo>
                  <a:lnTo>
                    <a:pt x="462" y="36"/>
                  </a:lnTo>
                  <a:lnTo>
                    <a:pt x="459" y="36"/>
                  </a:lnTo>
                  <a:lnTo>
                    <a:pt x="456" y="36"/>
                  </a:lnTo>
                  <a:lnTo>
                    <a:pt x="448" y="37"/>
                  </a:lnTo>
                  <a:lnTo>
                    <a:pt x="444" y="44"/>
                  </a:lnTo>
                  <a:lnTo>
                    <a:pt x="441" y="51"/>
                  </a:lnTo>
                  <a:lnTo>
                    <a:pt x="441" y="59"/>
                  </a:lnTo>
                  <a:lnTo>
                    <a:pt x="441" y="89"/>
                  </a:lnTo>
                  <a:lnTo>
                    <a:pt x="433" y="89"/>
                  </a:lnTo>
                  <a:lnTo>
                    <a:pt x="433" y="42"/>
                  </a:lnTo>
                  <a:lnTo>
                    <a:pt x="433" y="38"/>
                  </a:lnTo>
                  <a:lnTo>
                    <a:pt x="433" y="34"/>
                  </a:lnTo>
                  <a:lnTo>
                    <a:pt x="433" y="31"/>
                  </a:lnTo>
                  <a:lnTo>
                    <a:pt x="433" y="29"/>
                  </a:lnTo>
                  <a:lnTo>
                    <a:pt x="440" y="29"/>
                  </a:lnTo>
                  <a:lnTo>
                    <a:pt x="440" y="40"/>
                  </a:lnTo>
                  <a:lnTo>
                    <a:pt x="441" y="40"/>
                  </a:lnTo>
                  <a:lnTo>
                    <a:pt x="443" y="37"/>
                  </a:lnTo>
                  <a:lnTo>
                    <a:pt x="445" y="33"/>
                  </a:lnTo>
                  <a:lnTo>
                    <a:pt x="448" y="30"/>
                  </a:lnTo>
                  <a:lnTo>
                    <a:pt x="452" y="27"/>
                  </a:lnTo>
                  <a:lnTo>
                    <a:pt x="456" y="27"/>
                  </a:lnTo>
                  <a:close/>
                  <a:moveTo>
                    <a:pt x="395" y="27"/>
                  </a:moveTo>
                  <a:lnTo>
                    <a:pt x="406" y="30"/>
                  </a:lnTo>
                  <a:lnTo>
                    <a:pt x="414" y="36"/>
                  </a:lnTo>
                  <a:lnTo>
                    <a:pt x="418" y="45"/>
                  </a:lnTo>
                  <a:lnTo>
                    <a:pt x="419" y="58"/>
                  </a:lnTo>
                  <a:lnTo>
                    <a:pt x="419" y="62"/>
                  </a:lnTo>
                  <a:lnTo>
                    <a:pt x="378" y="62"/>
                  </a:lnTo>
                  <a:lnTo>
                    <a:pt x="379" y="70"/>
                  </a:lnTo>
                  <a:lnTo>
                    <a:pt x="382" y="78"/>
                  </a:lnTo>
                  <a:lnTo>
                    <a:pt x="389" y="82"/>
                  </a:lnTo>
                  <a:lnTo>
                    <a:pt x="397" y="85"/>
                  </a:lnTo>
                  <a:lnTo>
                    <a:pt x="403" y="84"/>
                  </a:lnTo>
                  <a:lnTo>
                    <a:pt x="407" y="82"/>
                  </a:lnTo>
                  <a:lnTo>
                    <a:pt x="411" y="81"/>
                  </a:lnTo>
                  <a:lnTo>
                    <a:pt x="415" y="80"/>
                  </a:lnTo>
                  <a:lnTo>
                    <a:pt x="415" y="88"/>
                  </a:lnTo>
                  <a:lnTo>
                    <a:pt x="410" y="89"/>
                  </a:lnTo>
                  <a:lnTo>
                    <a:pt x="403" y="91"/>
                  </a:lnTo>
                  <a:lnTo>
                    <a:pt x="397" y="91"/>
                  </a:lnTo>
                  <a:lnTo>
                    <a:pt x="385" y="88"/>
                  </a:lnTo>
                  <a:lnTo>
                    <a:pt x="375" y="82"/>
                  </a:lnTo>
                  <a:lnTo>
                    <a:pt x="371" y="71"/>
                  </a:lnTo>
                  <a:lnTo>
                    <a:pt x="370" y="59"/>
                  </a:lnTo>
                  <a:lnTo>
                    <a:pt x="371" y="47"/>
                  </a:lnTo>
                  <a:lnTo>
                    <a:pt x="377" y="36"/>
                  </a:lnTo>
                  <a:lnTo>
                    <a:pt x="385" y="30"/>
                  </a:lnTo>
                  <a:lnTo>
                    <a:pt x="395" y="27"/>
                  </a:lnTo>
                  <a:close/>
                  <a:moveTo>
                    <a:pt x="268" y="27"/>
                  </a:moveTo>
                  <a:lnTo>
                    <a:pt x="280" y="30"/>
                  </a:lnTo>
                  <a:lnTo>
                    <a:pt x="287" y="37"/>
                  </a:lnTo>
                  <a:lnTo>
                    <a:pt x="290" y="49"/>
                  </a:lnTo>
                  <a:lnTo>
                    <a:pt x="290" y="77"/>
                  </a:lnTo>
                  <a:lnTo>
                    <a:pt x="290" y="84"/>
                  </a:lnTo>
                  <a:lnTo>
                    <a:pt x="290" y="89"/>
                  </a:lnTo>
                  <a:lnTo>
                    <a:pt x="283" y="89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0" y="84"/>
                  </a:lnTo>
                  <a:lnTo>
                    <a:pt x="276" y="86"/>
                  </a:lnTo>
                  <a:lnTo>
                    <a:pt x="272" y="89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58" y="91"/>
                  </a:lnTo>
                  <a:lnTo>
                    <a:pt x="253" y="89"/>
                  </a:lnTo>
                  <a:lnTo>
                    <a:pt x="250" y="86"/>
                  </a:lnTo>
                  <a:lnTo>
                    <a:pt x="247" y="84"/>
                  </a:lnTo>
                  <a:lnTo>
                    <a:pt x="246" y="81"/>
                  </a:lnTo>
                  <a:lnTo>
                    <a:pt x="245" y="78"/>
                  </a:lnTo>
                  <a:lnTo>
                    <a:pt x="243" y="75"/>
                  </a:lnTo>
                  <a:lnTo>
                    <a:pt x="243" y="74"/>
                  </a:lnTo>
                  <a:lnTo>
                    <a:pt x="246" y="63"/>
                  </a:lnTo>
                  <a:lnTo>
                    <a:pt x="253" y="58"/>
                  </a:lnTo>
                  <a:lnTo>
                    <a:pt x="261" y="53"/>
                  </a:lnTo>
                  <a:lnTo>
                    <a:pt x="271" y="52"/>
                  </a:lnTo>
                  <a:lnTo>
                    <a:pt x="280" y="52"/>
                  </a:lnTo>
                  <a:lnTo>
                    <a:pt x="283" y="52"/>
                  </a:lnTo>
                  <a:lnTo>
                    <a:pt x="283" y="49"/>
                  </a:lnTo>
                  <a:lnTo>
                    <a:pt x="282" y="45"/>
                  </a:lnTo>
                  <a:lnTo>
                    <a:pt x="282" y="40"/>
                  </a:lnTo>
                  <a:lnTo>
                    <a:pt x="279" y="37"/>
                  </a:lnTo>
                  <a:lnTo>
                    <a:pt x="276" y="36"/>
                  </a:lnTo>
                  <a:lnTo>
                    <a:pt x="274" y="34"/>
                  </a:lnTo>
                  <a:lnTo>
                    <a:pt x="268" y="34"/>
                  </a:lnTo>
                  <a:lnTo>
                    <a:pt x="263" y="34"/>
                  </a:lnTo>
                  <a:lnTo>
                    <a:pt x="257" y="36"/>
                  </a:lnTo>
                  <a:lnTo>
                    <a:pt x="250" y="38"/>
                  </a:lnTo>
                  <a:lnTo>
                    <a:pt x="250" y="31"/>
                  </a:lnTo>
                  <a:lnTo>
                    <a:pt x="254" y="30"/>
                  </a:lnTo>
                  <a:lnTo>
                    <a:pt x="260" y="29"/>
                  </a:lnTo>
                  <a:lnTo>
                    <a:pt x="264" y="27"/>
                  </a:lnTo>
                  <a:lnTo>
                    <a:pt x="268" y="27"/>
                  </a:lnTo>
                  <a:close/>
                  <a:moveTo>
                    <a:pt x="191" y="14"/>
                  </a:moveTo>
                  <a:lnTo>
                    <a:pt x="191" y="42"/>
                  </a:lnTo>
                  <a:lnTo>
                    <a:pt x="199" y="42"/>
                  </a:lnTo>
                  <a:lnTo>
                    <a:pt x="203" y="42"/>
                  </a:lnTo>
                  <a:lnTo>
                    <a:pt x="206" y="42"/>
                  </a:lnTo>
                  <a:lnTo>
                    <a:pt x="210" y="41"/>
                  </a:lnTo>
                  <a:lnTo>
                    <a:pt x="213" y="40"/>
                  </a:lnTo>
                  <a:lnTo>
                    <a:pt x="216" y="38"/>
                  </a:lnTo>
                  <a:lnTo>
                    <a:pt x="219" y="36"/>
                  </a:lnTo>
                  <a:lnTo>
                    <a:pt x="220" y="31"/>
                  </a:lnTo>
                  <a:lnTo>
                    <a:pt x="220" y="27"/>
                  </a:lnTo>
                  <a:lnTo>
                    <a:pt x="220" y="23"/>
                  </a:lnTo>
                  <a:lnTo>
                    <a:pt x="217" y="19"/>
                  </a:lnTo>
                  <a:lnTo>
                    <a:pt x="216" y="16"/>
                  </a:lnTo>
                  <a:lnTo>
                    <a:pt x="212" y="15"/>
                  </a:lnTo>
                  <a:lnTo>
                    <a:pt x="209" y="14"/>
                  </a:lnTo>
                  <a:lnTo>
                    <a:pt x="205" y="14"/>
                  </a:lnTo>
                  <a:lnTo>
                    <a:pt x="202" y="14"/>
                  </a:lnTo>
                  <a:lnTo>
                    <a:pt x="191" y="14"/>
                  </a:lnTo>
                  <a:close/>
                  <a:moveTo>
                    <a:pt x="275" y="8"/>
                  </a:moveTo>
                  <a:lnTo>
                    <a:pt x="283" y="8"/>
                  </a:lnTo>
                  <a:lnTo>
                    <a:pt x="283" y="19"/>
                  </a:lnTo>
                  <a:lnTo>
                    <a:pt x="275" y="19"/>
                  </a:lnTo>
                  <a:lnTo>
                    <a:pt x="275" y="8"/>
                  </a:lnTo>
                  <a:close/>
                  <a:moveTo>
                    <a:pt x="254" y="8"/>
                  </a:moveTo>
                  <a:lnTo>
                    <a:pt x="263" y="8"/>
                  </a:lnTo>
                  <a:lnTo>
                    <a:pt x="263" y="19"/>
                  </a:lnTo>
                  <a:lnTo>
                    <a:pt x="254" y="19"/>
                  </a:lnTo>
                  <a:lnTo>
                    <a:pt x="254" y="8"/>
                  </a:lnTo>
                  <a:close/>
                  <a:moveTo>
                    <a:pt x="183" y="7"/>
                  </a:moveTo>
                  <a:lnTo>
                    <a:pt x="202" y="7"/>
                  </a:lnTo>
                  <a:lnTo>
                    <a:pt x="212" y="7"/>
                  </a:lnTo>
                  <a:lnTo>
                    <a:pt x="220" y="11"/>
                  </a:lnTo>
                  <a:lnTo>
                    <a:pt x="227" y="16"/>
                  </a:lnTo>
                  <a:lnTo>
                    <a:pt x="228" y="27"/>
                  </a:lnTo>
                  <a:lnTo>
                    <a:pt x="228" y="33"/>
                  </a:lnTo>
                  <a:lnTo>
                    <a:pt x="225" y="37"/>
                  </a:lnTo>
                  <a:lnTo>
                    <a:pt x="223" y="41"/>
                  </a:lnTo>
                  <a:lnTo>
                    <a:pt x="219" y="44"/>
                  </a:lnTo>
                  <a:lnTo>
                    <a:pt x="213" y="45"/>
                  </a:lnTo>
                  <a:lnTo>
                    <a:pt x="213" y="47"/>
                  </a:lnTo>
                  <a:lnTo>
                    <a:pt x="219" y="48"/>
                  </a:lnTo>
                  <a:lnTo>
                    <a:pt x="224" y="51"/>
                  </a:lnTo>
                  <a:lnTo>
                    <a:pt x="228" y="55"/>
                  </a:lnTo>
                  <a:lnTo>
                    <a:pt x="230" y="60"/>
                  </a:lnTo>
                  <a:lnTo>
                    <a:pt x="231" y="66"/>
                  </a:lnTo>
                  <a:lnTo>
                    <a:pt x="228" y="77"/>
                  </a:lnTo>
                  <a:lnTo>
                    <a:pt x="221" y="84"/>
                  </a:lnTo>
                  <a:lnTo>
                    <a:pt x="212" y="88"/>
                  </a:lnTo>
                  <a:lnTo>
                    <a:pt x="199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3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47" y="89"/>
                  </a:lnTo>
                  <a:lnTo>
                    <a:pt x="39" y="8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4" y="5"/>
                  </a:moveTo>
                  <a:lnTo>
                    <a:pt x="162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4" y="5"/>
                  </a:lnTo>
                  <a:close/>
                  <a:moveTo>
                    <a:pt x="348" y="0"/>
                  </a:moveTo>
                  <a:lnTo>
                    <a:pt x="356" y="0"/>
                  </a:lnTo>
                  <a:lnTo>
                    <a:pt x="356" y="89"/>
                  </a:lnTo>
                  <a:lnTo>
                    <a:pt x="348" y="89"/>
                  </a:lnTo>
                  <a:lnTo>
                    <a:pt x="348" y="80"/>
                  </a:lnTo>
                  <a:lnTo>
                    <a:pt x="348" y="80"/>
                  </a:lnTo>
                  <a:lnTo>
                    <a:pt x="345" y="85"/>
                  </a:lnTo>
                  <a:lnTo>
                    <a:pt x="341" y="88"/>
                  </a:lnTo>
                  <a:lnTo>
                    <a:pt x="335" y="91"/>
                  </a:lnTo>
                  <a:lnTo>
                    <a:pt x="330" y="91"/>
                  </a:lnTo>
                  <a:lnTo>
                    <a:pt x="319" y="88"/>
                  </a:lnTo>
                  <a:lnTo>
                    <a:pt x="311" y="82"/>
                  </a:lnTo>
                  <a:lnTo>
                    <a:pt x="307" y="71"/>
                  </a:lnTo>
                  <a:lnTo>
                    <a:pt x="304" y="59"/>
                  </a:lnTo>
                  <a:lnTo>
                    <a:pt x="305" y="47"/>
                  </a:lnTo>
                  <a:lnTo>
                    <a:pt x="311" y="36"/>
                  </a:lnTo>
                  <a:lnTo>
                    <a:pt x="318" y="30"/>
                  </a:lnTo>
                  <a:lnTo>
                    <a:pt x="330" y="27"/>
                  </a:lnTo>
                  <a:lnTo>
                    <a:pt x="335" y="27"/>
                  </a:lnTo>
                  <a:lnTo>
                    <a:pt x="340" y="30"/>
                  </a:lnTo>
                  <a:lnTo>
                    <a:pt x="342" y="31"/>
                  </a:lnTo>
                  <a:lnTo>
                    <a:pt x="345" y="34"/>
                  </a:lnTo>
                  <a:lnTo>
                    <a:pt x="348" y="37"/>
                  </a:lnTo>
                  <a:lnTo>
                    <a:pt x="348" y="38"/>
                  </a:lnTo>
                  <a:lnTo>
                    <a:pt x="348" y="38"/>
                  </a:lnTo>
                  <a:lnTo>
                    <a:pt x="3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36"/>
            <p:cNvSpPr>
              <a:spLocks noEditPoints="1"/>
            </p:cNvSpPr>
            <p:nvPr userDrawn="1"/>
          </p:nvSpPr>
          <p:spPr bwMode="auto">
            <a:xfrm>
              <a:off x="1759703" y="6142701"/>
              <a:ext cx="495949" cy="91331"/>
            </a:xfrm>
            <a:custGeom>
              <a:avLst/>
              <a:gdLst>
                <a:gd name="T0" fmla="*/ 324 w 467"/>
                <a:gd name="T1" fmla="*/ 44 h 86"/>
                <a:gd name="T2" fmla="*/ 335 w 467"/>
                <a:gd name="T3" fmla="*/ 77 h 86"/>
                <a:gd name="T4" fmla="*/ 362 w 467"/>
                <a:gd name="T5" fmla="*/ 64 h 86"/>
                <a:gd name="T6" fmla="*/ 351 w 467"/>
                <a:gd name="T7" fmla="*/ 31 h 86"/>
                <a:gd name="T8" fmla="*/ 417 w 467"/>
                <a:gd name="T9" fmla="*/ 24 h 86"/>
                <a:gd name="T10" fmla="*/ 427 w 467"/>
                <a:gd name="T11" fmla="*/ 35 h 86"/>
                <a:gd name="T12" fmla="*/ 437 w 467"/>
                <a:gd name="T13" fmla="*/ 25 h 86"/>
                <a:gd name="T14" fmla="*/ 457 w 467"/>
                <a:gd name="T15" fmla="*/ 25 h 86"/>
                <a:gd name="T16" fmla="*/ 467 w 467"/>
                <a:gd name="T17" fmla="*/ 43 h 86"/>
                <a:gd name="T18" fmla="*/ 459 w 467"/>
                <a:gd name="T19" fmla="*/ 40 h 86"/>
                <a:gd name="T20" fmla="*/ 450 w 467"/>
                <a:gd name="T21" fmla="*/ 29 h 86"/>
                <a:gd name="T22" fmla="*/ 430 w 467"/>
                <a:gd name="T23" fmla="*/ 51 h 86"/>
                <a:gd name="T24" fmla="*/ 422 w 467"/>
                <a:gd name="T25" fmla="*/ 40 h 86"/>
                <a:gd name="T26" fmla="*/ 413 w 467"/>
                <a:gd name="T27" fmla="*/ 29 h 86"/>
                <a:gd name="T28" fmla="*/ 393 w 467"/>
                <a:gd name="T29" fmla="*/ 51 h 86"/>
                <a:gd name="T30" fmla="*/ 386 w 467"/>
                <a:gd name="T31" fmla="*/ 31 h 86"/>
                <a:gd name="T32" fmla="*/ 393 w 467"/>
                <a:gd name="T33" fmla="*/ 35 h 86"/>
                <a:gd name="T34" fmla="*/ 400 w 467"/>
                <a:gd name="T35" fmla="*/ 25 h 86"/>
                <a:gd name="T36" fmla="*/ 343 w 467"/>
                <a:gd name="T37" fmla="*/ 22 h 86"/>
                <a:gd name="T38" fmla="*/ 372 w 467"/>
                <a:gd name="T39" fmla="*/ 54 h 86"/>
                <a:gd name="T40" fmla="*/ 343 w 467"/>
                <a:gd name="T41" fmla="*/ 86 h 86"/>
                <a:gd name="T42" fmla="*/ 314 w 467"/>
                <a:gd name="T43" fmla="*/ 54 h 86"/>
                <a:gd name="T44" fmla="*/ 343 w 467"/>
                <a:gd name="T45" fmla="*/ 22 h 86"/>
                <a:gd name="T46" fmla="*/ 310 w 467"/>
                <a:gd name="T47" fmla="*/ 31 h 86"/>
                <a:gd name="T48" fmla="*/ 292 w 467"/>
                <a:gd name="T49" fmla="*/ 39 h 86"/>
                <a:gd name="T50" fmla="*/ 281 w 467"/>
                <a:gd name="T51" fmla="*/ 84 h 86"/>
                <a:gd name="T52" fmla="*/ 281 w 467"/>
                <a:gd name="T53" fmla="*/ 26 h 86"/>
                <a:gd name="T54" fmla="*/ 290 w 467"/>
                <a:gd name="T55" fmla="*/ 35 h 86"/>
                <a:gd name="T56" fmla="*/ 301 w 467"/>
                <a:gd name="T57" fmla="*/ 22 h 86"/>
                <a:gd name="T58" fmla="*/ 269 w 467"/>
                <a:gd name="T59" fmla="*/ 24 h 86"/>
                <a:gd name="T60" fmla="*/ 255 w 467"/>
                <a:gd name="T61" fmla="*/ 73 h 86"/>
                <a:gd name="T62" fmla="*/ 263 w 467"/>
                <a:gd name="T63" fmla="*/ 80 h 86"/>
                <a:gd name="T64" fmla="*/ 268 w 467"/>
                <a:gd name="T65" fmla="*/ 86 h 86"/>
                <a:gd name="T66" fmla="*/ 252 w 467"/>
                <a:gd name="T67" fmla="*/ 84 h 86"/>
                <a:gd name="T68" fmla="*/ 247 w 467"/>
                <a:gd name="T69" fmla="*/ 70 h 86"/>
                <a:gd name="T70" fmla="*/ 236 w 467"/>
                <a:gd name="T71" fmla="*/ 24 h 86"/>
                <a:gd name="T72" fmla="*/ 0 w 467"/>
                <a:gd name="T73" fmla="*/ 2 h 86"/>
                <a:gd name="T74" fmla="*/ 86 w 467"/>
                <a:gd name="T75" fmla="*/ 2 h 86"/>
                <a:gd name="T76" fmla="*/ 77 w 467"/>
                <a:gd name="T77" fmla="*/ 10 h 86"/>
                <a:gd name="T78" fmla="*/ 8 w 467"/>
                <a:gd name="T79" fmla="*/ 10 h 86"/>
                <a:gd name="T80" fmla="*/ 207 w 467"/>
                <a:gd name="T81" fmla="*/ 0 h 86"/>
                <a:gd name="T82" fmla="*/ 222 w 467"/>
                <a:gd name="T83" fmla="*/ 10 h 86"/>
                <a:gd name="T84" fmla="*/ 203 w 467"/>
                <a:gd name="T85" fmla="*/ 7 h 86"/>
                <a:gd name="T86" fmla="*/ 191 w 467"/>
                <a:gd name="T87" fmla="*/ 14 h 86"/>
                <a:gd name="T88" fmla="*/ 199 w 467"/>
                <a:gd name="T89" fmla="*/ 33 h 86"/>
                <a:gd name="T90" fmla="*/ 226 w 467"/>
                <a:gd name="T91" fmla="*/ 62 h 86"/>
                <a:gd name="T92" fmla="*/ 199 w 467"/>
                <a:gd name="T93" fmla="*/ 86 h 86"/>
                <a:gd name="T94" fmla="*/ 181 w 467"/>
                <a:gd name="T95" fmla="*/ 73 h 86"/>
                <a:gd name="T96" fmla="*/ 204 w 467"/>
                <a:gd name="T97" fmla="*/ 79 h 86"/>
                <a:gd name="T98" fmla="*/ 218 w 467"/>
                <a:gd name="T99" fmla="*/ 68 h 86"/>
                <a:gd name="T100" fmla="*/ 199 w 467"/>
                <a:gd name="T101" fmla="*/ 44 h 86"/>
                <a:gd name="T102" fmla="*/ 182 w 467"/>
                <a:gd name="T103" fmla="*/ 13 h 86"/>
                <a:gd name="T104" fmla="*/ 154 w 467"/>
                <a:gd name="T105" fmla="*/ 0 h 86"/>
                <a:gd name="T106" fmla="*/ 154 w 467"/>
                <a:gd name="T10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67" h="86">
                  <a:moveTo>
                    <a:pt x="343" y="29"/>
                  </a:moveTo>
                  <a:lnTo>
                    <a:pt x="335" y="31"/>
                  </a:lnTo>
                  <a:lnTo>
                    <a:pt x="328" y="36"/>
                  </a:lnTo>
                  <a:lnTo>
                    <a:pt x="324" y="44"/>
                  </a:lnTo>
                  <a:lnTo>
                    <a:pt x="323" y="54"/>
                  </a:lnTo>
                  <a:lnTo>
                    <a:pt x="324" y="64"/>
                  </a:lnTo>
                  <a:lnTo>
                    <a:pt x="328" y="72"/>
                  </a:lnTo>
                  <a:lnTo>
                    <a:pt x="335" y="77"/>
                  </a:lnTo>
                  <a:lnTo>
                    <a:pt x="343" y="80"/>
                  </a:lnTo>
                  <a:lnTo>
                    <a:pt x="351" y="77"/>
                  </a:lnTo>
                  <a:lnTo>
                    <a:pt x="358" y="72"/>
                  </a:lnTo>
                  <a:lnTo>
                    <a:pt x="362" y="64"/>
                  </a:lnTo>
                  <a:lnTo>
                    <a:pt x="364" y="54"/>
                  </a:lnTo>
                  <a:lnTo>
                    <a:pt x="362" y="44"/>
                  </a:lnTo>
                  <a:lnTo>
                    <a:pt x="358" y="36"/>
                  </a:lnTo>
                  <a:lnTo>
                    <a:pt x="351" y="31"/>
                  </a:lnTo>
                  <a:lnTo>
                    <a:pt x="343" y="29"/>
                  </a:lnTo>
                  <a:close/>
                  <a:moveTo>
                    <a:pt x="412" y="22"/>
                  </a:moveTo>
                  <a:lnTo>
                    <a:pt x="415" y="22"/>
                  </a:lnTo>
                  <a:lnTo>
                    <a:pt x="417" y="24"/>
                  </a:lnTo>
                  <a:lnTo>
                    <a:pt x="422" y="25"/>
                  </a:lnTo>
                  <a:lnTo>
                    <a:pt x="424" y="26"/>
                  </a:lnTo>
                  <a:lnTo>
                    <a:pt x="426" y="31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30" y="31"/>
                  </a:lnTo>
                  <a:lnTo>
                    <a:pt x="433" y="28"/>
                  </a:lnTo>
                  <a:lnTo>
                    <a:pt x="437" y="25"/>
                  </a:lnTo>
                  <a:lnTo>
                    <a:pt x="442" y="22"/>
                  </a:lnTo>
                  <a:lnTo>
                    <a:pt x="448" y="22"/>
                  </a:lnTo>
                  <a:lnTo>
                    <a:pt x="453" y="22"/>
                  </a:lnTo>
                  <a:lnTo>
                    <a:pt x="457" y="25"/>
                  </a:lnTo>
                  <a:lnTo>
                    <a:pt x="461" y="28"/>
                  </a:lnTo>
                  <a:lnTo>
                    <a:pt x="464" y="32"/>
                  </a:lnTo>
                  <a:lnTo>
                    <a:pt x="466" y="37"/>
                  </a:lnTo>
                  <a:lnTo>
                    <a:pt x="467" y="43"/>
                  </a:lnTo>
                  <a:lnTo>
                    <a:pt x="467" y="84"/>
                  </a:lnTo>
                  <a:lnTo>
                    <a:pt x="459" y="84"/>
                  </a:lnTo>
                  <a:lnTo>
                    <a:pt x="459" y="44"/>
                  </a:lnTo>
                  <a:lnTo>
                    <a:pt x="459" y="40"/>
                  </a:lnTo>
                  <a:lnTo>
                    <a:pt x="457" y="36"/>
                  </a:lnTo>
                  <a:lnTo>
                    <a:pt x="456" y="33"/>
                  </a:lnTo>
                  <a:lnTo>
                    <a:pt x="453" y="31"/>
                  </a:lnTo>
                  <a:lnTo>
                    <a:pt x="450" y="29"/>
                  </a:lnTo>
                  <a:lnTo>
                    <a:pt x="446" y="29"/>
                  </a:lnTo>
                  <a:lnTo>
                    <a:pt x="438" y="31"/>
                  </a:lnTo>
                  <a:lnTo>
                    <a:pt x="433" y="39"/>
                  </a:lnTo>
                  <a:lnTo>
                    <a:pt x="430" y="51"/>
                  </a:lnTo>
                  <a:lnTo>
                    <a:pt x="430" y="84"/>
                  </a:lnTo>
                  <a:lnTo>
                    <a:pt x="423" y="84"/>
                  </a:lnTo>
                  <a:lnTo>
                    <a:pt x="423" y="44"/>
                  </a:lnTo>
                  <a:lnTo>
                    <a:pt x="422" y="40"/>
                  </a:lnTo>
                  <a:lnTo>
                    <a:pt x="422" y="36"/>
                  </a:lnTo>
                  <a:lnTo>
                    <a:pt x="420" y="33"/>
                  </a:lnTo>
                  <a:lnTo>
                    <a:pt x="417" y="31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1" y="31"/>
                  </a:lnTo>
                  <a:lnTo>
                    <a:pt x="395" y="39"/>
                  </a:lnTo>
                  <a:lnTo>
                    <a:pt x="393" y="51"/>
                  </a:lnTo>
                  <a:lnTo>
                    <a:pt x="393" y="84"/>
                  </a:lnTo>
                  <a:lnTo>
                    <a:pt x="386" y="84"/>
                  </a:lnTo>
                  <a:lnTo>
                    <a:pt x="386" y="37"/>
                  </a:lnTo>
                  <a:lnTo>
                    <a:pt x="386" y="31"/>
                  </a:lnTo>
                  <a:lnTo>
                    <a:pt x="386" y="24"/>
                  </a:lnTo>
                  <a:lnTo>
                    <a:pt x="393" y="24"/>
                  </a:lnTo>
                  <a:lnTo>
                    <a:pt x="393" y="33"/>
                  </a:lnTo>
                  <a:lnTo>
                    <a:pt x="393" y="35"/>
                  </a:lnTo>
                  <a:lnTo>
                    <a:pt x="394" y="32"/>
                  </a:lnTo>
                  <a:lnTo>
                    <a:pt x="395" y="31"/>
                  </a:lnTo>
                  <a:lnTo>
                    <a:pt x="397" y="28"/>
                  </a:lnTo>
                  <a:lnTo>
                    <a:pt x="400" y="25"/>
                  </a:lnTo>
                  <a:lnTo>
                    <a:pt x="402" y="24"/>
                  </a:lnTo>
                  <a:lnTo>
                    <a:pt x="406" y="22"/>
                  </a:lnTo>
                  <a:lnTo>
                    <a:pt x="412" y="22"/>
                  </a:lnTo>
                  <a:close/>
                  <a:moveTo>
                    <a:pt x="343" y="22"/>
                  </a:moveTo>
                  <a:lnTo>
                    <a:pt x="356" y="25"/>
                  </a:lnTo>
                  <a:lnTo>
                    <a:pt x="365" y="32"/>
                  </a:lnTo>
                  <a:lnTo>
                    <a:pt x="369" y="42"/>
                  </a:lnTo>
                  <a:lnTo>
                    <a:pt x="372" y="54"/>
                  </a:lnTo>
                  <a:lnTo>
                    <a:pt x="369" y="66"/>
                  </a:lnTo>
                  <a:lnTo>
                    <a:pt x="365" y="76"/>
                  </a:lnTo>
                  <a:lnTo>
                    <a:pt x="356" y="83"/>
                  </a:lnTo>
                  <a:lnTo>
                    <a:pt x="343" y="86"/>
                  </a:lnTo>
                  <a:lnTo>
                    <a:pt x="331" y="83"/>
                  </a:lnTo>
                  <a:lnTo>
                    <a:pt x="321" y="76"/>
                  </a:lnTo>
                  <a:lnTo>
                    <a:pt x="317" y="66"/>
                  </a:lnTo>
                  <a:lnTo>
                    <a:pt x="314" y="54"/>
                  </a:lnTo>
                  <a:lnTo>
                    <a:pt x="317" y="42"/>
                  </a:lnTo>
                  <a:lnTo>
                    <a:pt x="321" y="32"/>
                  </a:lnTo>
                  <a:lnTo>
                    <a:pt x="331" y="25"/>
                  </a:lnTo>
                  <a:lnTo>
                    <a:pt x="343" y="22"/>
                  </a:lnTo>
                  <a:close/>
                  <a:moveTo>
                    <a:pt x="305" y="22"/>
                  </a:moveTo>
                  <a:lnTo>
                    <a:pt x="307" y="22"/>
                  </a:lnTo>
                  <a:lnTo>
                    <a:pt x="310" y="22"/>
                  </a:lnTo>
                  <a:lnTo>
                    <a:pt x="310" y="31"/>
                  </a:lnTo>
                  <a:lnTo>
                    <a:pt x="307" y="31"/>
                  </a:lnTo>
                  <a:lnTo>
                    <a:pt x="305" y="31"/>
                  </a:lnTo>
                  <a:lnTo>
                    <a:pt x="298" y="32"/>
                  </a:lnTo>
                  <a:lnTo>
                    <a:pt x="292" y="39"/>
                  </a:lnTo>
                  <a:lnTo>
                    <a:pt x="290" y="46"/>
                  </a:lnTo>
                  <a:lnTo>
                    <a:pt x="290" y="54"/>
                  </a:lnTo>
                  <a:lnTo>
                    <a:pt x="290" y="84"/>
                  </a:lnTo>
                  <a:lnTo>
                    <a:pt x="281" y="84"/>
                  </a:lnTo>
                  <a:lnTo>
                    <a:pt x="281" y="37"/>
                  </a:lnTo>
                  <a:lnTo>
                    <a:pt x="281" y="33"/>
                  </a:lnTo>
                  <a:lnTo>
                    <a:pt x="281" y="29"/>
                  </a:lnTo>
                  <a:lnTo>
                    <a:pt x="281" y="26"/>
                  </a:lnTo>
                  <a:lnTo>
                    <a:pt x="281" y="24"/>
                  </a:lnTo>
                  <a:lnTo>
                    <a:pt x="290" y="24"/>
                  </a:lnTo>
                  <a:lnTo>
                    <a:pt x="290" y="35"/>
                  </a:lnTo>
                  <a:lnTo>
                    <a:pt x="290" y="35"/>
                  </a:lnTo>
                  <a:lnTo>
                    <a:pt x="291" y="32"/>
                  </a:lnTo>
                  <a:lnTo>
                    <a:pt x="294" y="28"/>
                  </a:lnTo>
                  <a:lnTo>
                    <a:pt x="296" y="25"/>
                  </a:lnTo>
                  <a:lnTo>
                    <a:pt x="301" y="22"/>
                  </a:lnTo>
                  <a:lnTo>
                    <a:pt x="305" y="22"/>
                  </a:lnTo>
                  <a:close/>
                  <a:moveTo>
                    <a:pt x="255" y="6"/>
                  </a:moveTo>
                  <a:lnTo>
                    <a:pt x="255" y="24"/>
                  </a:lnTo>
                  <a:lnTo>
                    <a:pt x="269" y="24"/>
                  </a:lnTo>
                  <a:lnTo>
                    <a:pt x="269" y="31"/>
                  </a:lnTo>
                  <a:lnTo>
                    <a:pt x="255" y="31"/>
                  </a:lnTo>
                  <a:lnTo>
                    <a:pt x="255" y="69"/>
                  </a:lnTo>
                  <a:lnTo>
                    <a:pt x="255" y="73"/>
                  </a:lnTo>
                  <a:lnTo>
                    <a:pt x="255" y="76"/>
                  </a:lnTo>
                  <a:lnTo>
                    <a:pt x="258" y="77"/>
                  </a:lnTo>
                  <a:lnTo>
                    <a:pt x="259" y="79"/>
                  </a:lnTo>
                  <a:lnTo>
                    <a:pt x="263" y="80"/>
                  </a:lnTo>
                  <a:lnTo>
                    <a:pt x="266" y="79"/>
                  </a:lnTo>
                  <a:lnTo>
                    <a:pt x="270" y="77"/>
                  </a:lnTo>
                  <a:lnTo>
                    <a:pt x="270" y="84"/>
                  </a:lnTo>
                  <a:lnTo>
                    <a:pt x="268" y="86"/>
                  </a:lnTo>
                  <a:lnTo>
                    <a:pt x="265" y="86"/>
                  </a:lnTo>
                  <a:lnTo>
                    <a:pt x="261" y="86"/>
                  </a:lnTo>
                  <a:lnTo>
                    <a:pt x="257" y="86"/>
                  </a:lnTo>
                  <a:lnTo>
                    <a:pt x="252" y="84"/>
                  </a:lnTo>
                  <a:lnTo>
                    <a:pt x="250" y="81"/>
                  </a:lnTo>
                  <a:lnTo>
                    <a:pt x="248" y="79"/>
                  </a:lnTo>
                  <a:lnTo>
                    <a:pt x="247" y="75"/>
                  </a:lnTo>
                  <a:lnTo>
                    <a:pt x="247" y="70"/>
                  </a:lnTo>
                  <a:lnTo>
                    <a:pt x="247" y="65"/>
                  </a:lnTo>
                  <a:lnTo>
                    <a:pt x="247" y="31"/>
                  </a:lnTo>
                  <a:lnTo>
                    <a:pt x="236" y="31"/>
                  </a:lnTo>
                  <a:lnTo>
                    <a:pt x="236" y="24"/>
                  </a:lnTo>
                  <a:lnTo>
                    <a:pt x="247" y="24"/>
                  </a:lnTo>
                  <a:lnTo>
                    <a:pt x="247" y="9"/>
                  </a:lnTo>
                  <a:lnTo>
                    <a:pt x="255" y="6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4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8" y="84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46" y="84"/>
                  </a:lnTo>
                  <a:lnTo>
                    <a:pt x="39" y="84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207" y="0"/>
                  </a:moveTo>
                  <a:lnTo>
                    <a:pt x="211" y="0"/>
                  </a:lnTo>
                  <a:lnTo>
                    <a:pt x="217" y="0"/>
                  </a:lnTo>
                  <a:lnTo>
                    <a:pt x="224" y="3"/>
                  </a:lnTo>
                  <a:lnTo>
                    <a:pt x="222" y="10"/>
                  </a:lnTo>
                  <a:lnTo>
                    <a:pt x="217" y="9"/>
                  </a:lnTo>
                  <a:lnTo>
                    <a:pt x="213" y="7"/>
                  </a:lnTo>
                  <a:lnTo>
                    <a:pt x="207" y="7"/>
                  </a:lnTo>
                  <a:lnTo>
                    <a:pt x="203" y="7"/>
                  </a:lnTo>
                  <a:lnTo>
                    <a:pt x="199" y="9"/>
                  </a:lnTo>
                  <a:lnTo>
                    <a:pt x="196" y="10"/>
                  </a:lnTo>
                  <a:lnTo>
                    <a:pt x="193" y="11"/>
                  </a:lnTo>
                  <a:lnTo>
                    <a:pt x="191" y="14"/>
                  </a:lnTo>
                  <a:lnTo>
                    <a:pt x="189" y="17"/>
                  </a:lnTo>
                  <a:lnTo>
                    <a:pt x="189" y="21"/>
                  </a:lnTo>
                  <a:lnTo>
                    <a:pt x="192" y="28"/>
                  </a:lnTo>
                  <a:lnTo>
                    <a:pt x="199" y="33"/>
                  </a:lnTo>
                  <a:lnTo>
                    <a:pt x="207" y="39"/>
                  </a:lnTo>
                  <a:lnTo>
                    <a:pt x="217" y="44"/>
                  </a:lnTo>
                  <a:lnTo>
                    <a:pt x="224" y="53"/>
                  </a:lnTo>
                  <a:lnTo>
                    <a:pt x="226" y="62"/>
                  </a:lnTo>
                  <a:lnTo>
                    <a:pt x="224" y="73"/>
                  </a:lnTo>
                  <a:lnTo>
                    <a:pt x="218" y="80"/>
                  </a:lnTo>
                  <a:lnTo>
                    <a:pt x="209" y="84"/>
                  </a:lnTo>
                  <a:lnTo>
                    <a:pt x="199" y="86"/>
                  </a:lnTo>
                  <a:lnTo>
                    <a:pt x="192" y="86"/>
                  </a:lnTo>
                  <a:lnTo>
                    <a:pt x="185" y="84"/>
                  </a:lnTo>
                  <a:lnTo>
                    <a:pt x="181" y="83"/>
                  </a:lnTo>
                  <a:lnTo>
                    <a:pt x="181" y="73"/>
                  </a:lnTo>
                  <a:lnTo>
                    <a:pt x="187" y="76"/>
                  </a:lnTo>
                  <a:lnTo>
                    <a:pt x="192" y="79"/>
                  </a:lnTo>
                  <a:lnTo>
                    <a:pt x="200" y="79"/>
                  </a:lnTo>
                  <a:lnTo>
                    <a:pt x="204" y="79"/>
                  </a:lnTo>
                  <a:lnTo>
                    <a:pt x="209" y="77"/>
                  </a:lnTo>
                  <a:lnTo>
                    <a:pt x="213" y="75"/>
                  </a:lnTo>
                  <a:lnTo>
                    <a:pt x="215" y="72"/>
                  </a:lnTo>
                  <a:lnTo>
                    <a:pt x="218" y="68"/>
                  </a:lnTo>
                  <a:lnTo>
                    <a:pt x="218" y="62"/>
                  </a:lnTo>
                  <a:lnTo>
                    <a:pt x="215" y="54"/>
                  </a:lnTo>
                  <a:lnTo>
                    <a:pt x="209" y="48"/>
                  </a:lnTo>
                  <a:lnTo>
                    <a:pt x="199" y="44"/>
                  </a:lnTo>
                  <a:lnTo>
                    <a:pt x="191" y="37"/>
                  </a:lnTo>
                  <a:lnTo>
                    <a:pt x="184" y="31"/>
                  </a:lnTo>
                  <a:lnTo>
                    <a:pt x="181" y="21"/>
                  </a:lnTo>
                  <a:lnTo>
                    <a:pt x="182" y="13"/>
                  </a:lnTo>
                  <a:lnTo>
                    <a:pt x="188" y="6"/>
                  </a:lnTo>
                  <a:lnTo>
                    <a:pt x="196" y="2"/>
                  </a:lnTo>
                  <a:lnTo>
                    <a:pt x="207" y="0"/>
                  </a:lnTo>
                  <a:close/>
                  <a:moveTo>
                    <a:pt x="154" y="0"/>
                  </a:moveTo>
                  <a:lnTo>
                    <a:pt x="162" y="0"/>
                  </a:lnTo>
                  <a:lnTo>
                    <a:pt x="115" y="86"/>
                  </a:lnTo>
                  <a:lnTo>
                    <a:pt x="107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37"/>
            <p:cNvSpPr>
              <a:spLocks noEditPoints="1"/>
            </p:cNvSpPr>
            <p:nvPr userDrawn="1"/>
          </p:nvSpPr>
          <p:spPr bwMode="auto">
            <a:xfrm>
              <a:off x="2440439" y="6142701"/>
              <a:ext cx="785872" cy="91331"/>
            </a:xfrm>
            <a:custGeom>
              <a:avLst/>
              <a:gdLst>
                <a:gd name="T0" fmla="*/ 501 w 740"/>
                <a:gd name="T1" fmla="*/ 73 h 86"/>
                <a:gd name="T2" fmla="*/ 521 w 740"/>
                <a:gd name="T3" fmla="*/ 77 h 86"/>
                <a:gd name="T4" fmla="*/ 531 w 740"/>
                <a:gd name="T5" fmla="*/ 59 h 86"/>
                <a:gd name="T6" fmla="*/ 707 w 740"/>
                <a:gd name="T7" fmla="*/ 32 h 86"/>
                <a:gd name="T8" fmla="*/ 732 w 740"/>
                <a:gd name="T9" fmla="*/ 46 h 86"/>
                <a:gd name="T10" fmla="*/ 717 w 740"/>
                <a:gd name="T11" fmla="*/ 29 h 86"/>
                <a:gd name="T12" fmla="*/ 241 w 740"/>
                <a:gd name="T13" fmla="*/ 44 h 86"/>
                <a:gd name="T14" fmla="*/ 269 w 740"/>
                <a:gd name="T15" fmla="*/ 33 h 86"/>
                <a:gd name="T16" fmla="*/ 420 w 740"/>
                <a:gd name="T17" fmla="*/ 76 h 86"/>
                <a:gd name="T18" fmla="*/ 479 w 740"/>
                <a:gd name="T19" fmla="*/ 24 h 86"/>
                <a:gd name="T20" fmla="*/ 424 w 740"/>
                <a:gd name="T21" fmla="*/ 84 h 86"/>
                <a:gd name="T22" fmla="*/ 739 w 740"/>
                <a:gd name="T23" fmla="*/ 40 h 86"/>
                <a:gd name="T24" fmla="*/ 710 w 740"/>
                <a:gd name="T25" fmla="*/ 77 h 86"/>
                <a:gd name="T26" fmla="*/ 736 w 740"/>
                <a:gd name="T27" fmla="*/ 83 h 86"/>
                <a:gd name="T28" fmla="*/ 692 w 740"/>
                <a:gd name="T29" fmla="*/ 66 h 86"/>
                <a:gd name="T30" fmla="*/ 622 w 740"/>
                <a:gd name="T31" fmla="*/ 22 h 86"/>
                <a:gd name="T32" fmla="*/ 637 w 740"/>
                <a:gd name="T33" fmla="*/ 35 h 86"/>
                <a:gd name="T34" fmla="*/ 658 w 740"/>
                <a:gd name="T35" fmla="*/ 22 h 86"/>
                <a:gd name="T36" fmla="*/ 677 w 740"/>
                <a:gd name="T37" fmla="*/ 43 h 86"/>
                <a:gd name="T38" fmla="*/ 666 w 740"/>
                <a:gd name="T39" fmla="*/ 33 h 86"/>
                <a:gd name="T40" fmla="*/ 640 w 740"/>
                <a:gd name="T41" fmla="*/ 51 h 86"/>
                <a:gd name="T42" fmla="*/ 629 w 740"/>
                <a:gd name="T43" fmla="*/ 33 h 86"/>
                <a:gd name="T44" fmla="*/ 603 w 740"/>
                <a:gd name="T45" fmla="*/ 51 h 86"/>
                <a:gd name="T46" fmla="*/ 603 w 740"/>
                <a:gd name="T47" fmla="*/ 24 h 86"/>
                <a:gd name="T48" fmla="*/ 609 w 740"/>
                <a:gd name="T49" fmla="*/ 25 h 86"/>
                <a:gd name="T50" fmla="*/ 583 w 740"/>
                <a:gd name="T51" fmla="*/ 22 h 86"/>
                <a:gd name="T52" fmla="*/ 564 w 740"/>
                <a:gd name="T53" fmla="*/ 46 h 86"/>
                <a:gd name="T54" fmla="*/ 556 w 740"/>
                <a:gd name="T55" fmla="*/ 29 h 86"/>
                <a:gd name="T56" fmla="*/ 565 w 740"/>
                <a:gd name="T57" fmla="*/ 32 h 86"/>
                <a:gd name="T58" fmla="*/ 528 w 740"/>
                <a:gd name="T59" fmla="*/ 25 h 86"/>
                <a:gd name="T60" fmla="*/ 531 w 740"/>
                <a:gd name="T61" fmla="*/ 84 h 86"/>
                <a:gd name="T62" fmla="*/ 516 w 740"/>
                <a:gd name="T63" fmla="*/ 86 h 86"/>
                <a:gd name="T64" fmla="*/ 494 w 740"/>
                <a:gd name="T65" fmla="*/ 76 h 86"/>
                <a:gd name="T66" fmla="*/ 509 w 740"/>
                <a:gd name="T67" fmla="*/ 48 h 86"/>
                <a:gd name="T68" fmla="*/ 530 w 740"/>
                <a:gd name="T69" fmla="*/ 35 h 86"/>
                <a:gd name="T70" fmla="*/ 505 w 740"/>
                <a:gd name="T71" fmla="*/ 31 h 86"/>
                <a:gd name="T72" fmla="*/ 517 w 740"/>
                <a:gd name="T73" fmla="*/ 22 h 86"/>
                <a:gd name="T74" fmla="*/ 385 w 740"/>
                <a:gd name="T75" fmla="*/ 84 h 86"/>
                <a:gd name="T76" fmla="*/ 372 w 740"/>
                <a:gd name="T77" fmla="*/ 31 h 86"/>
                <a:gd name="T78" fmla="*/ 346 w 740"/>
                <a:gd name="T79" fmla="*/ 51 h 86"/>
                <a:gd name="T80" fmla="*/ 344 w 740"/>
                <a:gd name="T81" fmla="*/ 24 h 86"/>
                <a:gd name="T82" fmla="*/ 354 w 740"/>
                <a:gd name="T83" fmla="*/ 24 h 86"/>
                <a:gd name="T84" fmla="*/ 324 w 740"/>
                <a:gd name="T85" fmla="*/ 31 h 86"/>
                <a:gd name="T86" fmla="*/ 303 w 740"/>
                <a:gd name="T87" fmla="*/ 54 h 86"/>
                <a:gd name="T88" fmla="*/ 296 w 740"/>
                <a:gd name="T89" fmla="*/ 26 h 86"/>
                <a:gd name="T90" fmla="*/ 307 w 740"/>
                <a:gd name="T91" fmla="*/ 28 h 86"/>
                <a:gd name="T92" fmla="*/ 275 w 740"/>
                <a:gd name="T93" fmla="*/ 31 h 86"/>
                <a:gd name="T94" fmla="*/ 245 w 740"/>
                <a:gd name="T95" fmla="*/ 73 h 86"/>
                <a:gd name="T96" fmla="*/ 277 w 740"/>
                <a:gd name="T97" fmla="*/ 75 h 86"/>
                <a:gd name="T98" fmla="*/ 238 w 740"/>
                <a:gd name="T99" fmla="*/ 77 h 86"/>
                <a:gd name="T100" fmla="*/ 258 w 740"/>
                <a:gd name="T101" fmla="*/ 22 h 86"/>
                <a:gd name="T102" fmla="*/ 502 w 740"/>
                <a:gd name="T103" fmla="*/ 3 h 86"/>
                <a:gd name="T104" fmla="*/ 223 w 740"/>
                <a:gd name="T105" fmla="*/ 2 h 86"/>
                <a:gd name="T106" fmla="*/ 192 w 740"/>
                <a:gd name="T107" fmla="*/ 46 h 86"/>
                <a:gd name="T108" fmla="*/ 44 w 740"/>
                <a:gd name="T109" fmla="*/ 75 h 86"/>
                <a:gd name="T110" fmla="*/ 77 w 740"/>
                <a:gd name="T111" fmla="*/ 10 h 86"/>
                <a:gd name="T112" fmla="*/ 0 w 740"/>
                <a:gd name="T113" fmla="*/ 84 h 86"/>
                <a:gd name="T114" fmla="*/ 154 w 740"/>
                <a:gd name="T1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0" h="86">
                  <a:moveTo>
                    <a:pt x="528" y="54"/>
                  </a:moveTo>
                  <a:lnTo>
                    <a:pt x="519" y="54"/>
                  </a:lnTo>
                  <a:lnTo>
                    <a:pt x="509" y="57"/>
                  </a:lnTo>
                  <a:lnTo>
                    <a:pt x="502" y="61"/>
                  </a:lnTo>
                  <a:lnTo>
                    <a:pt x="499" y="69"/>
                  </a:lnTo>
                  <a:lnTo>
                    <a:pt x="501" y="73"/>
                  </a:lnTo>
                  <a:lnTo>
                    <a:pt x="502" y="76"/>
                  </a:lnTo>
                  <a:lnTo>
                    <a:pt x="505" y="77"/>
                  </a:lnTo>
                  <a:lnTo>
                    <a:pt x="509" y="79"/>
                  </a:lnTo>
                  <a:lnTo>
                    <a:pt x="513" y="80"/>
                  </a:lnTo>
                  <a:lnTo>
                    <a:pt x="517" y="79"/>
                  </a:lnTo>
                  <a:lnTo>
                    <a:pt x="521" y="77"/>
                  </a:lnTo>
                  <a:lnTo>
                    <a:pt x="526" y="75"/>
                  </a:lnTo>
                  <a:lnTo>
                    <a:pt x="527" y="72"/>
                  </a:lnTo>
                  <a:lnTo>
                    <a:pt x="528" y="69"/>
                  </a:lnTo>
                  <a:lnTo>
                    <a:pt x="530" y="66"/>
                  </a:lnTo>
                  <a:lnTo>
                    <a:pt x="530" y="64"/>
                  </a:lnTo>
                  <a:lnTo>
                    <a:pt x="531" y="59"/>
                  </a:lnTo>
                  <a:lnTo>
                    <a:pt x="531" y="58"/>
                  </a:lnTo>
                  <a:lnTo>
                    <a:pt x="531" y="54"/>
                  </a:lnTo>
                  <a:lnTo>
                    <a:pt x="528" y="54"/>
                  </a:lnTo>
                  <a:close/>
                  <a:moveTo>
                    <a:pt x="717" y="29"/>
                  </a:moveTo>
                  <a:lnTo>
                    <a:pt x="711" y="29"/>
                  </a:lnTo>
                  <a:lnTo>
                    <a:pt x="707" y="32"/>
                  </a:lnTo>
                  <a:lnTo>
                    <a:pt x="703" y="35"/>
                  </a:lnTo>
                  <a:lnTo>
                    <a:pt x="700" y="40"/>
                  </a:lnTo>
                  <a:lnTo>
                    <a:pt x="699" y="44"/>
                  </a:lnTo>
                  <a:lnTo>
                    <a:pt x="699" y="50"/>
                  </a:lnTo>
                  <a:lnTo>
                    <a:pt x="732" y="50"/>
                  </a:lnTo>
                  <a:lnTo>
                    <a:pt x="732" y="46"/>
                  </a:lnTo>
                  <a:lnTo>
                    <a:pt x="730" y="42"/>
                  </a:lnTo>
                  <a:lnTo>
                    <a:pt x="729" y="37"/>
                  </a:lnTo>
                  <a:lnTo>
                    <a:pt x="728" y="33"/>
                  </a:lnTo>
                  <a:lnTo>
                    <a:pt x="724" y="31"/>
                  </a:lnTo>
                  <a:lnTo>
                    <a:pt x="721" y="29"/>
                  </a:lnTo>
                  <a:lnTo>
                    <a:pt x="717" y="29"/>
                  </a:lnTo>
                  <a:close/>
                  <a:moveTo>
                    <a:pt x="258" y="29"/>
                  </a:moveTo>
                  <a:lnTo>
                    <a:pt x="252" y="29"/>
                  </a:lnTo>
                  <a:lnTo>
                    <a:pt x="248" y="32"/>
                  </a:lnTo>
                  <a:lnTo>
                    <a:pt x="245" y="35"/>
                  </a:lnTo>
                  <a:lnTo>
                    <a:pt x="242" y="40"/>
                  </a:lnTo>
                  <a:lnTo>
                    <a:pt x="241" y="44"/>
                  </a:lnTo>
                  <a:lnTo>
                    <a:pt x="240" y="50"/>
                  </a:lnTo>
                  <a:lnTo>
                    <a:pt x="273" y="50"/>
                  </a:lnTo>
                  <a:lnTo>
                    <a:pt x="273" y="46"/>
                  </a:lnTo>
                  <a:lnTo>
                    <a:pt x="273" y="42"/>
                  </a:lnTo>
                  <a:lnTo>
                    <a:pt x="271" y="37"/>
                  </a:lnTo>
                  <a:lnTo>
                    <a:pt x="269" y="33"/>
                  </a:lnTo>
                  <a:lnTo>
                    <a:pt x="266" y="31"/>
                  </a:lnTo>
                  <a:lnTo>
                    <a:pt x="262" y="29"/>
                  </a:lnTo>
                  <a:lnTo>
                    <a:pt x="258" y="29"/>
                  </a:lnTo>
                  <a:close/>
                  <a:moveTo>
                    <a:pt x="395" y="24"/>
                  </a:moveTo>
                  <a:lnTo>
                    <a:pt x="403" y="24"/>
                  </a:lnTo>
                  <a:lnTo>
                    <a:pt x="420" y="76"/>
                  </a:lnTo>
                  <a:lnTo>
                    <a:pt x="420" y="76"/>
                  </a:lnTo>
                  <a:lnTo>
                    <a:pt x="436" y="24"/>
                  </a:lnTo>
                  <a:lnTo>
                    <a:pt x="446" y="24"/>
                  </a:lnTo>
                  <a:lnTo>
                    <a:pt x="461" y="76"/>
                  </a:lnTo>
                  <a:lnTo>
                    <a:pt x="462" y="76"/>
                  </a:lnTo>
                  <a:lnTo>
                    <a:pt x="479" y="24"/>
                  </a:lnTo>
                  <a:lnTo>
                    <a:pt x="486" y="24"/>
                  </a:lnTo>
                  <a:lnTo>
                    <a:pt x="466" y="84"/>
                  </a:lnTo>
                  <a:lnTo>
                    <a:pt x="457" y="84"/>
                  </a:lnTo>
                  <a:lnTo>
                    <a:pt x="440" y="32"/>
                  </a:lnTo>
                  <a:lnTo>
                    <a:pt x="440" y="32"/>
                  </a:lnTo>
                  <a:lnTo>
                    <a:pt x="424" y="84"/>
                  </a:lnTo>
                  <a:lnTo>
                    <a:pt x="414" y="84"/>
                  </a:lnTo>
                  <a:lnTo>
                    <a:pt x="395" y="24"/>
                  </a:lnTo>
                  <a:close/>
                  <a:moveTo>
                    <a:pt x="715" y="22"/>
                  </a:moveTo>
                  <a:lnTo>
                    <a:pt x="726" y="25"/>
                  </a:lnTo>
                  <a:lnTo>
                    <a:pt x="734" y="31"/>
                  </a:lnTo>
                  <a:lnTo>
                    <a:pt x="739" y="40"/>
                  </a:lnTo>
                  <a:lnTo>
                    <a:pt x="740" y="53"/>
                  </a:lnTo>
                  <a:lnTo>
                    <a:pt x="740" y="57"/>
                  </a:lnTo>
                  <a:lnTo>
                    <a:pt x="699" y="57"/>
                  </a:lnTo>
                  <a:lnTo>
                    <a:pt x="700" y="65"/>
                  </a:lnTo>
                  <a:lnTo>
                    <a:pt x="703" y="73"/>
                  </a:lnTo>
                  <a:lnTo>
                    <a:pt x="710" y="77"/>
                  </a:lnTo>
                  <a:lnTo>
                    <a:pt x="718" y="80"/>
                  </a:lnTo>
                  <a:lnTo>
                    <a:pt x="722" y="79"/>
                  </a:lnTo>
                  <a:lnTo>
                    <a:pt x="728" y="77"/>
                  </a:lnTo>
                  <a:lnTo>
                    <a:pt x="732" y="76"/>
                  </a:lnTo>
                  <a:lnTo>
                    <a:pt x="736" y="75"/>
                  </a:lnTo>
                  <a:lnTo>
                    <a:pt x="736" y="83"/>
                  </a:lnTo>
                  <a:lnTo>
                    <a:pt x="729" y="84"/>
                  </a:lnTo>
                  <a:lnTo>
                    <a:pt x="724" y="86"/>
                  </a:lnTo>
                  <a:lnTo>
                    <a:pt x="718" y="86"/>
                  </a:lnTo>
                  <a:lnTo>
                    <a:pt x="704" y="83"/>
                  </a:lnTo>
                  <a:lnTo>
                    <a:pt x="696" y="77"/>
                  </a:lnTo>
                  <a:lnTo>
                    <a:pt x="692" y="66"/>
                  </a:lnTo>
                  <a:lnTo>
                    <a:pt x="691" y="54"/>
                  </a:lnTo>
                  <a:lnTo>
                    <a:pt x="692" y="42"/>
                  </a:lnTo>
                  <a:lnTo>
                    <a:pt x="697" y="31"/>
                  </a:lnTo>
                  <a:lnTo>
                    <a:pt x="706" y="25"/>
                  </a:lnTo>
                  <a:lnTo>
                    <a:pt x="715" y="22"/>
                  </a:lnTo>
                  <a:close/>
                  <a:moveTo>
                    <a:pt x="622" y="22"/>
                  </a:moveTo>
                  <a:lnTo>
                    <a:pt x="625" y="22"/>
                  </a:lnTo>
                  <a:lnTo>
                    <a:pt x="627" y="24"/>
                  </a:lnTo>
                  <a:lnTo>
                    <a:pt x="631" y="25"/>
                  </a:lnTo>
                  <a:lnTo>
                    <a:pt x="634" y="26"/>
                  </a:lnTo>
                  <a:lnTo>
                    <a:pt x="636" y="31"/>
                  </a:lnTo>
                  <a:lnTo>
                    <a:pt x="637" y="35"/>
                  </a:lnTo>
                  <a:lnTo>
                    <a:pt x="638" y="35"/>
                  </a:lnTo>
                  <a:lnTo>
                    <a:pt x="640" y="31"/>
                  </a:lnTo>
                  <a:lnTo>
                    <a:pt x="642" y="28"/>
                  </a:lnTo>
                  <a:lnTo>
                    <a:pt x="647" y="25"/>
                  </a:lnTo>
                  <a:lnTo>
                    <a:pt x="652" y="22"/>
                  </a:lnTo>
                  <a:lnTo>
                    <a:pt x="658" y="22"/>
                  </a:lnTo>
                  <a:lnTo>
                    <a:pt x="663" y="22"/>
                  </a:lnTo>
                  <a:lnTo>
                    <a:pt x="667" y="25"/>
                  </a:lnTo>
                  <a:lnTo>
                    <a:pt x="671" y="28"/>
                  </a:lnTo>
                  <a:lnTo>
                    <a:pt x="674" y="32"/>
                  </a:lnTo>
                  <a:lnTo>
                    <a:pt x="675" y="37"/>
                  </a:lnTo>
                  <a:lnTo>
                    <a:pt x="677" y="43"/>
                  </a:lnTo>
                  <a:lnTo>
                    <a:pt x="677" y="84"/>
                  </a:lnTo>
                  <a:lnTo>
                    <a:pt x="669" y="84"/>
                  </a:lnTo>
                  <a:lnTo>
                    <a:pt x="669" y="44"/>
                  </a:lnTo>
                  <a:lnTo>
                    <a:pt x="669" y="40"/>
                  </a:lnTo>
                  <a:lnTo>
                    <a:pt x="667" y="36"/>
                  </a:lnTo>
                  <a:lnTo>
                    <a:pt x="666" y="33"/>
                  </a:lnTo>
                  <a:lnTo>
                    <a:pt x="663" y="31"/>
                  </a:lnTo>
                  <a:lnTo>
                    <a:pt x="660" y="29"/>
                  </a:lnTo>
                  <a:lnTo>
                    <a:pt x="656" y="29"/>
                  </a:lnTo>
                  <a:lnTo>
                    <a:pt x="648" y="31"/>
                  </a:lnTo>
                  <a:lnTo>
                    <a:pt x="642" y="39"/>
                  </a:lnTo>
                  <a:lnTo>
                    <a:pt x="640" y="51"/>
                  </a:lnTo>
                  <a:lnTo>
                    <a:pt x="640" y="84"/>
                  </a:lnTo>
                  <a:lnTo>
                    <a:pt x="633" y="84"/>
                  </a:lnTo>
                  <a:lnTo>
                    <a:pt x="633" y="44"/>
                  </a:lnTo>
                  <a:lnTo>
                    <a:pt x="631" y="40"/>
                  </a:lnTo>
                  <a:lnTo>
                    <a:pt x="631" y="36"/>
                  </a:lnTo>
                  <a:lnTo>
                    <a:pt x="629" y="33"/>
                  </a:lnTo>
                  <a:lnTo>
                    <a:pt x="627" y="31"/>
                  </a:lnTo>
                  <a:lnTo>
                    <a:pt x="623" y="29"/>
                  </a:lnTo>
                  <a:lnTo>
                    <a:pt x="619" y="29"/>
                  </a:lnTo>
                  <a:lnTo>
                    <a:pt x="611" y="31"/>
                  </a:lnTo>
                  <a:lnTo>
                    <a:pt x="605" y="39"/>
                  </a:lnTo>
                  <a:lnTo>
                    <a:pt x="603" y="51"/>
                  </a:lnTo>
                  <a:lnTo>
                    <a:pt x="603" y="84"/>
                  </a:lnTo>
                  <a:lnTo>
                    <a:pt x="596" y="84"/>
                  </a:lnTo>
                  <a:lnTo>
                    <a:pt x="596" y="37"/>
                  </a:lnTo>
                  <a:lnTo>
                    <a:pt x="596" y="31"/>
                  </a:lnTo>
                  <a:lnTo>
                    <a:pt x="596" y="24"/>
                  </a:lnTo>
                  <a:lnTo>
                    <a:pt x="603" y="24"/>
                  </a:lnTo>
                  <a:lnTo>
                    <a:pt x="603" y="33"/>
                  </a:lnTo>
                  <a:lnTo>
                    <a:pt x="603" y="35"/>
                  </a:lnTo>
                  <a:lnTo>
                    <a:pt x="604" y="32"/>
                  </a:lnTo>
                  <a:lnTo>
                    <a:pt x="605" y="31"/>
                  </a:lnTo>
                  <a:lnTo>
                    <a:pt x="607" y="28"/>
                  </a:lnTo>
                  <a:lnTo>
                    <a:pt x="609" y="25"/>
                  </a:lnTo>
                  <a:lnTo>
                    <a:pt x="612" y="24"/>
                  </a:lnTo>
                  <a:lnTo>
                    <a:pt x="616" y="22"/>
                  </a:lnTo>
                  <a:lnTo>
                    <a:pt x="622" y="22"/>
                  </a:lnTo>
                  <a:close/>
                  <a:moveTo>
                    <a:pt x="579" y="22"/>
                  </a:moveTo>
                  <a:lnTo>
                    <a:pt x="582" y="22"/>
                  </a:lnTo>
                  <a:lnTo>
                    <a:pt x="583" y="22"/>
                  </a:lnTo>
                  <a:lnTo>
                    <a:pt x="583" y="31"/>
                  </a:lnTo>
                  <a:lnTo>
                    <a:pt x="582" y="31"/>
                  </a:lnTo>
                  <a:lnTo>
                    <a:pt x="578" y="31"/>
                  </a:lnTo>
                  <a:lnTo>
                    <a:pt x="571" y="32"/>
                  </a:lnTo>
                  <a:lnTo>
                    <a:pt x="567" y="39"/>
                  </a:lnTo>
                  <a:lnTo>
                    <a:pt x="564" y="46"/>
                  </a:lnTo>
                  <a:lnTo>
                    <a:pt x="563" y="54"/>
                  </a:lnTo>
                  <a:lnTo>
                    <a:pt x="563" y="84"/>
                  </a:lnTo>
                  <a:lnTo>
                    <a:pt x="556" y="84"/>
                  </a:lnTo>
                  <a:lnTo>
                    <a:pt x="556" y="37"/>
                  </a:lnTo>
                  <a:lnTo>
                    <a:pt x="556" y="33"/>
                  </a:lnTo>
                  <a:lnTo>
                    <a:pt x="556" y="29"/>
                  </a:lnTo>
                  <a:lnTo>
                    <a:pt x="556" y="26"/>
                  </a:lnTo>
                  <a:lnTo>
                    <a:pt x="556" y="24"/>
                  </a:lnTo>
                  <a:lnTo>
                    <a:pt x="563" y="24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5" y="32"/>
                  </a:lnTo>
                  <a:lnTo>
                    <a:pt x="568" y="28"/>
                  </a:lnTo>
                  <a:lnTo>
                    <a:pt x="571" y="25"/>
                  </a:lnTo>
                  <a:lnTo>
                    <a:pt x="575" y="22"/>
                  </a:lnTo>
                  <a:lnTo>
                    <a:pt x="579" y="22"/>
                  </a:lnTo>
                  <a:close/>
                  <a:moveTo>
                    <a:pt x="517" y="22"/>
                  </a:moveTo>
                  <a:lnTo>
                    <a:pt x="528" y="25"/>
                  </a:lnTo>
                  <a:lnTo>
                    <a:pt x="535" y="32"/>
                  </a:lnTo>
                  <a:lnTo>
                    <a:pt x="538" y="44"/>
                  </a:lnTo>
                  <a:lnTo>
                    <a:pt x="538" y="72"/>
                  </a:lnTo>
                  <a:lnTo>
                    <a:pt x="538" y="79"/>
                  </a:lnTo>
                  <a:lnTo>
                    <a:pt x="538" y="84"/>
                  </a:lnTo>
                  <a:lnTo>
                    <a:pt x="531" y="84"/>
                  </a:lnTo>
                  <a:lnTo>
                    <a:pt x="531" y="75"/>
                  </a:lnTo>
                  <a:lnTo>
                    <a:pt x="531" y="75"/>
                  </a:lnTo>
                  <a:lnTo>
                    <a:pt x="528" y="79"/>
                  </a:lnTo>
                  <a:lnTo>
                    <a:pt x="526" y="81"/>
                  </a:lnTo>
                  <a:lnTo>
                    <a:pt x="521" y="84"/>
                  </a:lnTo>
                  <a:lnTo>
                    <a:pt x="516" y="86"/>
                  </a:lnTo>
                  <a:lnTo>
                    <a:pt x="512" y="86"/>
                  </a:lnTo>
                  <a:lnTo>
                    <a:pt x="506" y="86"/>
                  </a:lnTo>
                  <a:lnTo>
                    <a:pt x="501" y="84"/>
                  </a:lnTo>
                  <a:lnTo>
                    <a:pt x="498" y="81"/>
                  </a:lnTo>
                  <a:lnTo>
                    <a:pt x="495" y="79"/>
                  </a:lnTo>
                  <a:lnTo>
                    <a:pt x="494" y="76"/>
                  </a:lnTo>
                  <a:lnTo>
                    <a:pt x="493" y="73"/>
                  </a:lnTo>
                  <a:lnTo>
                    <a:pt x="491" y="70"/>
                  </a:lnTo>
                  <a:lnTo>
                    <a:pt x="491" y="69"/>
                  </a:lnTo>
                  <a:lnTo>
                    <a:pt x="494" y="58"/>
                  </a:lnTo>
                  <a:lnTo>
                    <a:pt x="501" y="53"/>
                  </a:lnTo>
                  <a:lnTo>
                    <a:pt x="509" y="48"/>
                  </a:lnTo>
                  <a:lnTo>
                    <a:pt x="519" y="47"/>
                  </a:lnTo>
                  <a:lnTo>
                    <a:pt x="530" y="47"/>
                  </a:lnTo>
                  <a:lnTo>
                    <a:pt x="531" y="47"/>
                  </a:lnTo>
                  <a:lnTo>
                    <a:pt x="531" y="44"/>
                  </a:lnTo>
                  <a:lnTo>
                    <a:pt x="530" y="40"/>
                  </a:lnTo>
                  <a:lnTo>
                    <a:pt x="530" y="35"/>
                  </a:lnTo>
                  <a:lnTo>
                    <a:pt x="527" y="32"/>
                  </a:lnTo>
                  <a:lnTo>
                    <a:pt x="524" y="31"/>
                  </a:lnTo>
                  <a:lnTo>
                    <a:pt x="521" y="29"/>
                  </a:lnTo>
                  <a:lnTo>
                    <a:pt x="517" y="29"/>
                  </a:lnTo>
                  <a:lnTo>
                    <a:pt x="510" y="29"/>
                  </a:lnTo>
                  <a:lnTo>
                    <a:pt x="505" y="31"/>
                  </a:lnTo>
                  <a:lnTo>
                    <a:pt x="499" y="33"/>
                  </a:lnTo>
                  <a:lnTo>
                    <a:pt x="499" y="26"/>
                  </a:lnTo>
                  <a:lnTo>
                    <a:pt x="502" y="25"/>
                  </a:lnTo>
                  <a:lnTo>
                    <a:pt x="508" y="24"/>
                  </a:lnTo>
                  <a:lnTo>
                    <a:pt x="512" y="22"/>
                  </a:lnTo>
                  <a:lnTo>
                    <a:pt x="517" y="22"/>
                  </a:lnTo>
                  <a:close/>
                  <a:moveTo>
                    <a:pt x="365" y="22"/>
                  </a:moveTo>
                  <a:lnTo>
                    <a:pt x="374" y="24"/>
                  </a:lnTo>
                  <a:lnTo>
                    <a:pt x="380" y="29"/>
                  </a:lnTo>
                  <a:lnTo>
                    <a:pt x="384" y="36"/>
                  </a:lnTo>
                  <a:lnTo>
                    <a:pt x="385" y="46"/>
                  </a:lnTo>
                  <a:lnTo>
                    <a:pt x="385" y="84"/>
                  </a:lnTo>
                  <a:lnTo>
                    <a:pt x="377" y="84"/>
                  </a:lnTo>
                  <a:lnTo>
                    <a:pt x="377" y="47"/>
                  </a:lnTo>
                  <a:lnTo>
                    <a:pt x="377" y="42"/>
                  </a:lnTo>
                  <a:lnTo>
                    <a:pt x="376" y="37"/>
                  </a:lnTo>
                  <a:lnTo>
                    <a:pt x="374" y="33"/>
                  </a:lnTo>
                  <a:lnTo>
                    <a:pt x="372" y="31"/>
                  </a:lnTo>
                  <a:lnTo>
                    <a:pt x="367" y="29"/>
                  </a:lnTo>
                  <a:lnTo>
                    <a:pt x="363" y="29"/>
                  </a:lnTo>
                  <a:lnTo>
                    <a:pt x="355" y="31"/>
                  </a:lnTo>
                  <a:lnTo>
                    <a:pt x="350" y="35"/>
                  </a:lnTo>
                  <a:lnTo>
                    <a:pt x="346" y="43"/>
                  </a:lnTo>
                  <a:lnTo>
                    <a:pt x="346" y="51"/>
                  </a:lnTo>
                  <a:lnTo>
                    <a:pt x="346" y="84"/>
                  </a:lnTo>
                  <a:lnTo>
                    <a:pt x="337" y="84"/>
                  </a:lnTo>
                  <a:lnTo>
                    <a:pt x="337" y="37"/>
                  </a:lnTo>
                  <a:lnTo>
                    <a:pt x="337" y="31"/>
                  </a:lnTo>
                  <a:lnTo>
                    <a:pt x="337" y="24"/>
                  </a:lnTo>
                  <a:lnTo>
                    <a:pt x="344" y="24"/>
                  </a:lnTo>
                  <a:lnTo>
                    <a:pt x="344" y="35"/>
                  </a:lnTo>
                  <a:lnTo>
                    <a:pt x="344" y="35"/>
                  </a:lnTo>
                  <a:lnTo>
                    <a:pt x="346" y="32"/>
                  </a:lnTo>
                  <a:lnTo>
                    <a:pt x="348" y="29"/>
                  </a:lnTo>
                  <a:lnTo>
                    <a:pt x="351" y="26"/>
                  </a:lnTo>
                  <a:lnTo>
                    <a:pt x="354" y="24"/>
                  </a:lnTo>
                  <a:lnTo>
                    <a:pt x="359" y="22"/>
                  </a:lnTo>
                  <a:lnTo>
                    <a:pt x="365" y="22"/>
                  </a:lnTo>
                  <a:close/>
                  <a:moveTo>
                    <a:pt x="318" y="22"/>
                  </a:moveTo>
                  <a:lnTo>
                    <a:pt x="322" y="22"/>
                  </a:lnTo>
                  <a:lnTo>
                    <a:pt x="324" y="22"/>
                  </a:lnTo>
                  <a:lnTo>
                    <a:pt x="324" y="31"/>
                  </a:lnTo>
                  <a:lnTo>
                    <a:pt x="321" y="31"/>
                  </a:lnTo>
                  <a:lnTo>
                    <a:pt x="318" y="31"/>
                  </a:lnTo>
                  <a:lnTo>
                    <a:pt x="311" y="32"/>
                  </a:lnTo>
                  <a:lnTo>
                    <a:pt x="307" y="39"/>
                  </a:lnTo>
                  <a:lnTo>
                    <a:pt x="304" y="46"/>
                  </a:lnTo>
                  <a:lnTo>
                    <a:pt x="303" y="54"/>
                  </a:lnTo>
                  <a:lnTo>
                    <a:pt x="303" y="84"/>
                  </a:lnTo>
                  <a:lnTo>
                    <a:pt x="296" y="84"/>
                  </a:lnTo>
                  <a:lnTo>
                    <a:pt x="296" y="37"/>
                  </a:lnTo>
                  <a:lnTo>
                    <a:pt x="296" y="33"/>
                  </a:lnTo>
                  <a:lnTo>
                    <a:pt x="296" y="29"/>
                  </a:lnTo>
                  <a:lnTo>
                    <a:pt x="296" y="26"/>
                  </a:lnTo>
                  <a:lnTo>
                    <a:pt x="296" y="24"/>
                  </a:lnTo>
                  <a:lnTo>
                    <a:pt x="303" y="24"/>
                  </a:lnTo>
                  <a:lnTo>
                    <a:pt x="303" y="35"/>
                  </a:lnTo>
                  <a:lnTo>
                    <a:pt x="303" y="35"/>
                  </a:lnTo>
                  <a:lnTo>
                    <a:pt x="306" y="32"/>
                  </a:lnTo>
                  <a:lnTo>
                    <a:pt x="307" y="28"/>
                  </a:lnTo>
                  <a:lnTo>
                    <a:pt x="311" y="25"/>
                  </a:lnTo>
                  <a:lnTo>
                    <a:pt x="314" y="22"/>
                  </a:lnTo>
                  <a:lnTo>
                    <a:pt x="318" y="22"/>
                  </a:lnTo>
                  <a:close/>
                  <a:moveTo>
                    <a:pt x="258" y="22"/>
                  </a:moveTo>
                  <a:lnTo>
                    <a:pt x="269" y="25"/>
                  </a:lnTo>
                  <a:lnTo>
                    <a:pt x="275" y="31"/>
                  </a:lnTo>
                  <a:lnTo>
                    <a:pt x="280" y="40"/>
                  </a:lnTo>
                  <a:lnTo>
                    <a:pt x="281" y="53"/>
                  </a:lnTo>
                  <a:lnTo>
                    <a:pt x="281" y="57"/>
                  </a:lnTo>
                  <a:lnTo>
                    <a:pt x="240" y="57"/>
                  </a:lnTo>
                  <a:lnTo>
                    <a:pt x="241" y="65"/>
                  </a:lnTo>
                  <a:lnTo>
                    <a:pt x="245" y="73"/>
                  </a:lnTo>
                  <a:lnTo>
                    <a:pt x="252" y="77"/>
                  </a:lnTo>
                  <a:lnTo>
                    <a:pt x="260" y="80"/>
                  </a:lnTo>
                  <a:lnTo>
                    <a:pt x="264" y="79"/>
                  </a:lnTo>
                  <a:lnTo>
                    <a:pt x="270" y="77"/>
                  </a:lnTo>
                  <a:lnTo>
                    <a:pt x="274" y="76"/>
                  </a:lnTo>
                  <a:lnTo>
                    <a:pt x="277" y="75"/>
                  </a:lnTo>
                  <a:lnTo>
                    <a:pt x="277" y="83"/>
                  </a:lnTo>
                  <a:lnTo>
                    <a:pt x="271" y="84"/>
                  </a:lnTo>
                  <a:lnTo>
                    <a:pt x="266" y="86"/>
                  </a:lnTo>
                  <a:lnTo>
                    <a:pt x="259" y="86"/>
                  </a:lnTo>
                  <a:lnTo>
                    <a:pt x="247" y="83"/>
                  </a:lnTo>
                  <a:lnTo>
                    <a:pt x="238" y="77"/>
                  </a:lnTo>
                  <a:lnTo>
                    <a:pt x="233" y="66"/>
                  </a:lnTo>
                  <a:lnTo>
                    <a:pt x="231" y="54"/>
                  </a:lnTo>
                  <a:lnTo>
                    <a:pt x="234" y="42"/>
                  </a:lnTo>
                  <a:lnTo>
                    <a:pt x="238" y="31"/>
                  </a:lnTo>
                  <a:lnTo>
                    <a:pt x="247" y="25"/>
                  </a:lnTo>
                  <a:lnTo>
                    <a:pt x="258" y="22"/>
                  </a:lnTo>
                  <a:close/>
                  <a:moveTo>
                    <a:pt x="523" y="3"/>
                  </a:moveTo>
                  <a:lnTo>
                    <a:pt x="531" y="3"/>
                  </a:lnTo>
                  <a:lnTo>
                    <a:pt x="531" y="14"/>
                  </a:lnTo>
                  <a:lnTo>
                    <a:pt x="523" y="14"/>
                  </a:lnTo>
                  <a:lnTo>
                    <a:pt x="523" y="3"/>
                  </a:lnTo>
                  <a:close/>
                  <a:moveTo>
                    <a:pt x="502" y="3"/>
                  </a:moveTo>
                  <a:lnTo>
                    <a:pt x="510" y="3"/>
                  </a:lnTo>
                  <a:lnTo>
                    <a:pt x="510" y="14"/>
                  </a:lnTo>
                  <a:lnTo>
                    <a:pt x="502" y="14"/>
                  </a:lnTo>
                  <a:lnTo>
                    <a:pt x="502" y="3"/>
                  </a:lnTo>
                  <a:close/>
                  <a:moveTo>
                    <a:pt x="183" y="2"/>
                  </a:moveTo>
                  <a:lnTo>
                    <a:pt x="223" y="2"/>
                  </a:lnTo>
                  <a:lnTo>
                    <a:pt x="223" y="9"/>
                  </a:lnTo>
                  <a:lnTo>
                    <a:pt x="192" y="9"/>
                  </a:lnTo>
                  <a:lnTo>
                    <a:pt x="192" y="37"/>
                  </a:lnTo>
                  <a:lnTo>
                    <a:pt x="222" y="37"/>
                  </a:lnTo>
                  <a:lnTo>
                    <a:pt x="222" y="46"/>
                  </a:lnTo>
                  <a:lnTo>
                    <a:pt x="192" y="46"/>
                  </a:lnTo>
                  <a:lnTo>
                    <a:pt x="192" y="84"/>
                  </a:lnTo>
                  <a:lnTo>
                    <a:pt x="183" y="84"/>
                  </a:lnTo>
                  <a:lnTo>
                    <a:pt x="183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38"/>
            <p:cNvSpPr>
              <a:spLocks noEditPoints="1"/>
            </p:cNvSpPr>
            <p:nvPr userDrawn="1"/>
          </p:nvSpPr>
          <p:spPr bwMode="auto">
            <a:xfrm>
              <a:off x="3408972" y="6137391"/>
              <a:ext cx="534181" cy="122129"/>
            </a:xfrm>
            <a:custGeom>
              <a:avLst/>
              <a:gdLst>
                <a:gd name="T0" fmla="*/ 415 w 503"/>
                <a:gd name="T1" fmla="*/ 74 h 115"/>
                <a:gd name="T2" fmla="*/ 427 w 503"/>
                <a:gd name="T3" fmla="*/ 85 h 115"/>
                <a:gd name="T4" fmla="*/ 444 w 503"/>
                <a:gd name="T5" fmla="*/ 74 h 115"/>
                <a:gd name="T6" fmla="*/ 445 w 503"/>
                <a:gd name="T7" fmla="*/ 59 h 115"/>
                <a:gd name="T8" fmla="*/ 350 w 503"/>
                <a:gd name="T9" fmla="*/ 51 h 115"/>
                <a:gd name="T10" fmla="*/ 367 w 503"/>
                <a:gd name="T11" fmla="*/ 82 h 115"/>
                <a:gd name="T12" fmla="*/ 385 w 503"/>
                <a:gd name="T13" fmla="*/ 49 h 115"/>
                <a:gd name="T14" fmla="*/ 293 w 503"/>
                <a:gd name="T15" fmla="*/ 36 h 115"/>
                <a:gd name="T16" fmla="*/ 287 w 503"/>
                <a:gd name="T17" fmla="*/ 77 h 115"/>
                <a:gd name="T18" fmla="*/ 319 w 503"/>
                <a:gd name="T19" fmla="*/ 67 h 115"/>
                <a:gd name="T20" fmla="*/ 301 w 503"/>
                <a:gd name="T21" fmla="*/ 34 h 115"/>
                <a:gd name="T22" fmla="*/ 500 w 503"/>
                <a:gd name="T23" fmla="*/ 37 h 115"/>
                <a:gd name="T24" fmla="*/ 478 w 503"/>
                <a:gd name="T25" fmla="*/ 36 h 115"/>
                <a:gd name="T26" fmla="*/ 481 w 503"/>
                <a:gd name="T27" fmla="*/ 52 h 115"/>
                <a:gd name="T28" fmla="*/ 503 w 503"/>
                <a:gd name="T29" fmla="*/ 78 h 115"/>
                <a:gd name="T30" fmla="*/ 486 w 503"/>
                <a:gd name="T31" fmla="*/ 91 h 115"/>
                <a:gd name="T32" fmla="*/ 466 w 503"/>
                <a:gd name="T33" fmla="*/ 81 h 115"/>
                <a:gd name="T34" fmla="*/ 489 w 503"/>
                <a:gd name="T35" fmla="*/ 82 h 115"/>
                <a:gd name="T36" fmla="*/ 488 w 503"/>
                <a:gd name="T37" fmla="*/ 63 h 115"/>
                <a:gd name="T38" fmla="*/ 467 w 503"/>
                <a:gd name="T39" fmla="*/ 40 h 115"/>
                <a:gd name="T40" fmla="*/ 482 w 503"/>
                <a:gd name="T41" fmla="*/ 27 h 115"/>
                <a:gd name="T42" fmla="*/ 453 w 503"/>
                <a:gd name="T43" fmla="*/ 49 h 115"/>
                <a:gd name="T44" fmla="*/ 447 w 503"/>
                <a:gd name="T45" fmla="*/ 80 h 115"/>
                <a:gd name="T46" fmla="*/ 431 w 503"/>
                <a:gd name="T47" fmla="*/ 91 h 115"/>
                <a:gd name="T48" fmla="*/ 409 w 503"/>
                <a:gd name="T49" fmla="*/ 84 h 115"/>
                <a:gd name="T50" fmla="*/ 409 w 503"/>
                <a:gd name="T51" fmla="*/ 63 h 115"/>
                <a:gd name="T52" fmla="*/ 445 w 503"/>
                <a:gd name="T53" fmla="*/ 52 h 115"/>
                <a:gd name="T54" fmla="*/ 440 w 503"/>
                <a:gd name="T55" fmla="*/ 36 h 115"/>
                <a:gd name="T56" fmla="*/ 414 w 503"/>
                <a:gd name="T57" fmla="*/ 38 h 115"/>
                <a:gd name="T58" fmla="*/ 431 w 503"/>
                <a:gd name="T59" fmla="*/ 27 h 115"/>
                <a:gd name="T60" fmla="*/ 385 w 503"/>
                <a:gd name="T61" fmla="*/ 36 h 115"/>
                <a:gd name="T62" fmla="*/ 392 w 503"/>
                <a:gd name="T63" fmla="*/ 96 h 115"/>
                <a:gd name="T64" fmla="*/ 353 w 503"/>
                <a:gd name="T65" fmla="*/ 114 h 115"/>
                <a:gd name="T66" fmla="*/ 359 w 503"/>
                <a:gd name="T67" fmla="*/ 108 h 115"/>
                <a:gd name="T68" fmla="*/ 385 w 503"/>
                <a:gd name="T69" fmla="*/ 88 h 115"/>
                <a:gd name="T70" fmla="*/ 375 w 503"/>
                <a:gd name="T71" fmla="*/ 88 h 115"/>
                <a:gd name="T72" fmla="*/ 345 w 503"/>
                <a:gd name="T73" fmla="*/ 75 h 115"/>
                <a:gd name="T74" fmla="*/ 354 w 503"/>
                <a:gd name="T75" fmla="*/ 30 h 115"/>
                <a:gd name="T76" fmla="*/ 269 w 503"/>
                <a:gd name="T77" fmla="*/ 36 h 115"/>
                <a:gd name="T78" fmla="*/ 250 w 503"/>
                <a:gd name="T79" fmla="*/ 51 h 115"/>
                <a:gd name="T80" fmla="*/ 242 w 503"/>
                <a:gd name="T81" fmla="*/ 38 h 115"/>
                <a:gd name="T82" fmla="*/ 249 w 503"/>
                <a:gd name="T83" fmla="*/ 40 h 115"/>
                <a:gd name="T84" fmla="*/ 260 w 503"/>
                <a:gd name="T85" fmla="*/ 27 h 115"/>
                <a:gd name="T86" fmla="*/ 191 w 503"/>
                <a:gd name="T87" fmla="*/ 14 h 115"/>
                <a:gd name="T88" fmla="*/ 191 w 503"/>
                <a:gd name="T89" fmla="*/ 82 h 115"/>
                <a:gd name="T90" fmla="*/ 0 w 503"/>
                <a:gd name="T91" fmla="*/ 7 h 115"/>
                <a:gd name="T92" fmla="*/ 85 w 503"/>
                <a:gd name="T93" fmla="*/ 89 h 115"/>
                <a:gd name="T94" fmla="*/ 38 w 503"/>
                <a:gd name="T95" fmla="*/ 89 h 115"/>
                <a:gd name="T96" fmla="*/ 0 w 503"/>
                <a:gd name="T97" fmla="*/ 7 h 115"/>
                <a:gd name="T98" fmla="*/ 152 w 503"/>
                <a:gd name="T99" fmla="*/ 5 h 115"/>
                <a:gd name="T100" fmla="*/ 319 w 503"/>
                <a:gd name="T101" fmla="*/ 80 h 115"/>
                <a:gd name="T102" fmla="*/ 301 w 503"/>
                <a:gd name="T103" fmla="*/ 91 h 115"/>
                <a:gd name="T104" fmla="*/ 276 w 503"/>
                <a:gd name="T105" fmla="*/ 47 h 115"/>
                <a:gd name="T106" fmla="*/ 310 w 503"/>
                <a:gd name="T107" fmla="*/ 30 h 115"/>
                <a:gd name="T108" fmla="*/ 319 w 503"/>
                <a:gd name="T109" fmla="*/ 38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3" h="115">
                  <a:moveTo>
                    <a:pt x="444" y="59"/>
                  </a:moveTo>
                  <a:lnTo>
                    <a:pt x="433" y="59"/>
                  </a:lnTo>
                  <a:lnTo>
                    <a:pt x="425" y="62"/>
                  </a:lnTo>
                  <a:lnTo>
                    <a:pt x="418" y="66"/>
                  </a:lnTo>
                  <a:lnTo>
                    <a:pt x="415" y="74"/>
                  </a:lnTo>
                  <a:lnTo>
                    <a:pt x="415" y="78"/>
                  </a:lnTo>
                  <a:lnTo>
                    <a:pt x="418" y="81"/>
                  </a:lnTo>
                  <a:lnTo>
                    <a:pt x="420" y="82"/>
                  </a:lnTo>
                  <a:lnTo>
                    <a:pt x="423" y="84"/>
                  </a:lnTo>
                  <a:lnTo>
                    <a:pt x="427" y="85"/>
                  </a:lnTo>
                  <a:lnTo>
                    <a:pt x="433" y="84"/>
                  </a:lnTo>
                  <a:lnTo>
                    <a:pt x="437" y="82"/>
                  </a:lnTo>
                  <a:lnTo>
                    <a:pt x="440" y="80"/>
                  </a:lnTo>
                  <a:lnTo>
                    <a:pt x="442" y="77"/>
                  </a:lnTo>
                  <a:lnTo>
                    <a:pt x="444" y="74"/>
                  </a:lnTo>
                  <a:lnTo>
                    <a:pt x="445" y="71"/>
                  </a:lnTo>
                  <a:lnTo>
                    <a:pt x="445" y="69"/>
                  </a:lnTo>
                  <a:lnTo>
                    <a:pt x="445" y="64"/>
                  </a:lnTo>
                  <a:lnTo>
                    <a:pt x="445" y="63"/>
                  </a:lnTo>
                  <a:lnTo>
                    <a:pt x="445" y="59"/>
                  </a:lnTo>
                  <a:lnTo>
                    <a:pt x="444" y="59"/>
                  </a:lnTo>
                  <a:close/>
                  <a:moveTo>
                    <a:pt x="368" y="34"/>
                  </a:moveTo>
                  <a:lnTo>
                    <a:pt x="359" y="36"/>
                  </a:lnTo>
                  <a:lnTo>
                    <a:pt x="353" y="42"/>
                  </a:lnTo>
                  <a:lnTo>
                    <a:pt x="350" y="51"/>
                  </a:lnTo>
                  <a:lnTo>
                    <a:pt x="349" y="59"/>
                  </a:lnTo>
                  <a:lnTo>
                    <a:pt x="350" y="67"/>
                  </a:lnTo>
                  <a:lnTo>
                    <a:pt x="353" y="75"/>
                  </a:lnTo>
                  <a:lnTo>
                    <a:pt x="359" y="81"/>
                  </a:lnTo>
                  <a:lnTo>
                    <a:pt x="367" y="82"/>
                  </a:lnTo>
                  <a:lnTo>
                    <a:pt x="375" y="81"/>
                  </a:lnTo>
                  <a:lnTo>
                    <a:pt x="382" y="75"/>
                  </a:lnTo>
                  <a:lnTo>
                    <a:pt x="385" y="67"/>
                  </a:lnTo>
                  <a:lnTo>
                    <a:pt x="386" y="59"/>
                  </a:lnTo>
                  <a:lnTo>
                    <a:pt x="385" y="49"/>
                  </a:lnTo>
                  <a:lnTo>
                    <a:pt x="382" y="40"/>
                  </a:lnTo>
                  <a:lnTo>
                    <a:pt x="376" y="36"/>
                  </a:lnTo>
                  <a:lnTo>
                    <a:pt x="368" y="34"/>
                  </a:lnTo>
                  <a:close/>
                  <a:moveTo>
                    <a:pt x="301" y="34"/>
                  </a:moveTo>
                  <a:lnTo>
                    <a:pt x="293" y="36"/>
                  </a:lnTo>
                  <a:lnTo>
                    <a:pt x="287" y="42"/>
                  </a:lnTo>
                  <a:lnTo>
                    <a:pt x="284" y="51"/>
                  </a:lnTo>
                  <a:lnTo>
                    <a:pt x="283" y="59"/>
                  </a:lnTo>
                  <a:lnTo>
                    <a:pt x="284" y="69"/>
                  </a:lnTo>
                  <a:lnTo>
                    <a:pt x="287" y="77"/>
                  </a:lnTo>
                  <a:lnTo>
                    <a:pt x="293" y="82"/>
                  </a:lnTo>
                  <a:lnTo>
                    <a:pt x="301" y="85"/>
                  </a:lnTo>
                  <a:lnTo>
                    <a:pt x="310" y="82"/>
                  </a:lnTo>
                  <a:lnTo>
                    <a:pt x="316" y="75"/>
                  </a:lnTo>
                  <a:lnTo>
                    <a:pt x="319" y="67"/>
                  </a:lnTo>
                  <a:lnTo>
                    <a:pt x="319" y="59"/>
                  </a:lnTo>
                  <a:lnTo>
                    <a:pt x="319" y="51"/>
                  </a:lnTo>
                  <a:lnTo>
                    <a:pt x="316" y="42"/>
                  </a:lnTo>
                  <a:lnTo>
                    <a:pt x="310" y="36"/>
                  </a:lnTo>
                  <a:lnTo>
                    <a:pt x="301" y="34"/>
                  </a:lnTo>
                  <a:close/>
                  <a:moveTo>
                    <a:pt x="486" y="27"/>
                  </a:moveTo>
                  <a:lnTo>
                    <a:pt x="491" y="27"/>
                  </a:lnTo>
                  <a:lnTo>
                    <a:pt x="495" y="29"/>
                  </a:lnTo>
                  <a:lnTo>
                    <a:pt x="502" y="30"/>
                  </a:lnTo>
                  <a:lnTo>
                    <a:pt x="500" y="37"/>
                  </a:lnTo>
                  <a:lnTo>
                    <a:pt x="496" y="36"/>
                  </a:lnTo>
                  <a:lnTo>
                    <a:pt x="491" y="34"/>
                  </a:lnTo>
                  <a:lnTo>
                    <a:pt x="486" y="34"/>
                  </a:lnTo>
                  <a:lnTo>
                    <a:pt x="482" y="34"/>
                  </a:lnTo>
                  <a:lnTo>
                    <a:pt x="478" y="36"/>
                  </a:lnTo>
                  <a:lnTo>
                    <a:pt x="475" y="37"/>
                  </a:lnTo>
                  <a:lnTo>
                    <a:pt x="474" y="40"/>
                  </a:lnTo>
                  <a:lnTo>
                    <a:pt x="474" y="44"/>
                  </a:lnTo>
                  <a:lnTo>
                    <a:pt x="475" y="48"/>
                  </a:lnTo>
                  <a:lnTo>
                    <a:pt x="481" y="52"/>
                  </a:lnTo>
                  <a:lnTo>
                    <a:pt x="489" y="55"/>
                  </a:lnTo>
                  <a:lnTo>
                    <a:pt x="496" y="59"/>
                  </a:lnTo>
                  <a:lnTo>
                    <a:pt x="502" y="66"/>
                  </a:lnTo>
                  <a:lnTo>
                    <a:pt x="503" y="74"/>
                  </a:lnTo>
                  <a:lnTo>
                    <a:pt x="503" y="78"/>
                  </a:lnTo>
                  <a:lnTo>
                    <a:pt x="502" y="82"/>
                  </a:lnTo>
                  <a:lnTo>
                    <a:pt x="497" y="86"/>
                  </a:lnTo>
                  <a:lnTo>
                    <a:pt x="495" y="88"/>
                  </a:lnTo>
                  <a:lnTo>
                    <a:pt x="491" y="89"/>
                  </a:lnTo>
                  <a:lnTo>
                    <a:pt x="486" y="91"/>
                  </a:lnTo>
                  <a:lnTo>
                    <a:pt x="482" y="91"/>
                  </a:lnTo>
                  <a:lnTo>
                    <a:pt x="477" y="91"/>
                  </a:lnTo>
                  <a:lnTo>
                    <a:pt x="471" y="89"/>
                  </a:lnTo>
                  <a:lnTo>
                    <a:pt x="466" y="88"/>
                  </a:lnTo>
                  <a:lnTo>
                    <a:pt x="466" y="81"/>
                  </a:lnTo>
                  <a:lnTo>
                    <a:pt x="471" y="82"/>
                  </a:lnTo>
                  <a:lnTo>
                    <a:pt x="477" y="84"/>
                  </a:lnTo>
                  <a:lnTo>
                    <a:pt x="482" y="85"/>
                  </a:lnTo>
                  <a:lnTo>
                    <a:pt x="486" y="84"/>
                  </a:lnTo>
                  <a:lnTo>
                    <a:pt x="489" y="82"/>
                  </a:lnTo>
                  <a:lnTo>
                    <a:pt x="493" y="81"/>
                  </a:lnTo>
                  <a:lnTo>
                    <a:pt x="495" y="77"/>
                  </a:lnTo>
                  <a:lnTo>
                    <a:pt x="495" y="74"/>
                  </a:lnTo>
                  <a:lnTo>
                    <a:pt x="493" y="67"/>
                  </a:lnTo>
                  <a:lnTo>
                    <a:pt x="488" y="63"/>
                  </a:lnTo>
                  <a:lnTo>
                    <a:pt x="481" y="60"/>
                  </a:lnTo>
                  <a:lnTo>
                    <a:pt x="474" y="56"/>
                  </a:lnTo>
                  <a:lnTo>
                    <a:pt x="469" y="51"/>
                  </a:lnTo>
                  <a:lnTo>
                    <a:pt x="466" y="44"/>
                  </a:lnTo>
                  <a:lnTo>
                    <a:pt x="467" y="40"/>
                  </a:lnTo>
                  <a:lnTo>
                    <a:pt x="469" y="36"/>
                  </a:lnTo>
                  <a:lnTo>
                    <a:pt x="471" y="33"/>
                  </a:lnTo>
                  <a:lnTo>
                    <a:pt x="474" y="30"/>
                  </a:lnTo>
                  <a:lnTo>
                    <a:pt x="478" y="29"/>
                  </a:lnTo>
                  <a:lnTo>
                    <a:pt x="482" y="27"/>
                  </a:lnTo>
                  <a:lnTo>
                    <a:pt x="486" y="27"/>
                  </a:lnTo>
                  <a:close/>
                  <a:moveTo>
                    <a:pt x="431" y="27"/>
                  </a:moveTo>
                  <a:lnTo>
                    <a:pt x="444" y="30"/>
                  </a:lnTo>
                  <a:lnTo>
                    <a:pt x="451" y="37"/>
                  </a:lnTo>
                  <a:lnTo>
                    <a:pt x="453" y="49"/>
                  </a:lnTo>
                  <a:lnTo>
                    <a:pt x="453" y="77"/>
                  </a:lnTo>
                  <a:lnTo>
                    <a:pt x="453" y="84"/>
                  </a:lnTo>
                  <a:lnTo>
                    <a:pt x="453" y="89"/>
                  </a:lnTo>
                  <a:lnTo>
                    <a:pt x="447" y="89"/>
                  </a:lnTo>
                  <a:lnTo>
                    <a:pt x="447" y="80"/>
                  </a:lnTo>
                  <a:lnTo>
                    <a:pt x="445" y="80"/>
                  </a:lnTo>
                  <a:lnTo>
                    <a:pt x="444" y="84"/>
                  </a:lnTo>
                  <a:lnTo>
                    <a:pt x="440" y="86"/>
                  </a:lnTo>
                  <a:lnTo>
                    <a:pt x="436" y="89"/>
                  </a:lnTo>
                  <a:lnTo>
                    <a:pt x="431" y="91"/>
                  </a:lnTo>
                  <a:lnTo>
                    <a:pt x="426" y="91"/>
                  </a:lnTo>
                  <a:lnTo>
                    <a:pt x="420" y="91"/>
                  </a:lnTo>
                  <a:lnTo>
                    <a:pt x="416" y="89"/>
                  </a:lnTo>
                  <a:lnTo>
                    <a:pt x="412" y="86"/>
                  </a:lnTo>
                  <a:lnTo>
                    <a:pt x="409" y="84"/>
                  </a:lnTo>
                  <a:lnTo>
                    <a:pt x="408" y="81"/>
                  </a:lnTo>
                  <a:lnTo>
                    <a:pt x="407" y="78"/>
                  </a:lnTo>
                  <a:lnTo>
                    <a:pt x="407" y="75"/>
                  </a:lnTo>
                  <a:lnTo>
                    <a:pt x="407" y="74"/>
                  </a:lnTo>
                  <a:lnTo>
                    <a:pt x="409" y="63"/>
                  </a:lnTo>
                  <a:lnTo>
                    <a:pt x="415" y="58"/>
                  </a:lnTo>
                  <a:lnTo>
                    <a:pt x="425" y="53"/>
                  </a:lnTo>
                  <a:lnTo>
                    <a:pt x="434" y="52"/>
                  </a:lnTo>
                  <a:lnTo>
                    <a:pt x="444" y="52"/>
                  </a:lnTo>
                  <a:lnTo>
                    <a:pt x="445" y="52"/>
                  </a:lnTo>
                  <a:lnTo>
                    <a:pt x="445" y="49"/>
                  </a:lnTo>
                  <a:lnTo>
                    <a:pt x="445" y="45"/>
                  </a:lnTo>
                  <a:lnTo>
                    <a:pt x="444" y="40"/>
                  </a:lnTo>
                  <a:lnTo>
                    <a:pt x="442" y="37"/>
                  </a:lnTo>
                  <a:lnTo>
                    <a:pt x="440" y="36"/>
                  </a:lnTo>
                  <a:lnTo>
                    <a:pt x="436" y="34"/>
                  </a:lnTo>
                  <a:lnTo>
                    <a:pt x="431" y="34"/>
                  </a:lnTo>
                  <a:lnTo>
                    <a:pt x="426" y="34"/>
                  </a:lnTo>
                  <a:lnTo>
                    <a:pt x="419" y="36"/>
                  </a:lnTo>
                  <a:lnTo>
                    <a:pt x="414" y="38"/>
                  </a:lnTo>
                  <a:lnTo>
                    <a:pt x="414" y="31"/>
                  </a:lnTo>
                  <a:lnTo>
                    <a:pt x="418" y="30"/>
                  </a:lnTo>
                  <a:lnTo>
                    <a:pt x="422" y="29"/>
                  </a:lnTo>
                  <a:lnTo>
                    <a:pt x="427" y="27"/>
                  </a:lnTo>
                  <a:lnTo>
                    <a:pt x="431" y="27"/>
                  </a:lnTo>
                  <a:close/>
                  <a:moveTo>
                    <a:pt x="367" y="27"/>
                  </a:moveTo>
                  <a:lnTo>
                    <a:pt x="372" y="27"/>
                  </a:lnTo>
                  <a:lnTo>
                    <a:pt x="376" y="29"/>
                  </a:lnTo>
                  <a:lnTo>
                    <a:pt x="381" y="31"/>
                  </a:lnTo>
                  <a:lnTo>
                    <a:pt x="385" y="36"/>
                  </a:lnTo>
                  <a:lnTo>
                    <a:pt x="386" y="36"/>
                  </a:lnTo>
                  <a:lnTo>
                    <a:pt x="386" y="29"/>
                  </a:lnTo>
                  <a:lnTo>
                    <a:pt x="393" y="29"/>
                  </a:lnTo>
                  <a:lnTo>
                    <a:pt x="393" y="85"/>
                  </a:lnTo>
                  <a:lnTo>
                    <a:pt x="392" y="96"/>
                  </a:lnTo>
                  <a:lnTo>
                    <a:pt x="386" y="106"/>
                  </a:lnTo>
                  <a:lnTo>
                    <a:pt x="378" y="113"/>
                  </a:lnTo>
                  <a:lnTo>
                    <a:pt x="364" y="115"/>
                  </a:lnTo>
                  <a:lnTo>
                    <a:pt x="359" y="115"/>
                  </a:lnTo>
                  <a:lnTo>
                    <a:pt x="353" y="114"/>
                  </a:lnTo>
                  <a:lnTo>
                    <a:pt x="349" y="113"/>
                  </a:lnTo>
                  <a:lnTo>
                    <a:pt x="346" y="113"/>
                  </a:lnTo>
                  <a:lnTo>
                    <a:pt x="346" y="104"/>
                  </a:lnTo>
                  <a:lnTo>
                    <a:pt x="352" y="107"/>
                  </a:lnTo>
                  <a:lnTo>
                    <a:pt x="359" y="108"/>
                  </a:lnTo>
                  <a:lnTo>
                    <a:pt x="364" y="108"/>
                  </a:lnTo>
                  <a:lnTo>
                    <a:pt x="374" y="107"/>
                  </a:lnTo>
                  <a:lnTo>
                    <a:pt x="381" y="103"/>
                  </a:lnTo>
                  <a:lnTo>
                    <a:pt x="383" y="96"/>
                  </a:lnTo>
                  <a:lnTo>
                    <a:pt x="385" y="88"/>
                  </a:lnTo>
                  <a:lnTo>
                    <a:pt x="386" y="78"/>
                  </a:lnTo>
                  <a:lnTo>
                    <a:pt x="386" y="78"/>
                  </a:lnTo>
                  <a:lnTo>
                    <a:pt x="383" y="82"/>
                  </a:lnTo>
                  <a:lnTo>
                    <a:pt x="379" y="85"/>
                  </a:lnTo>
                  <a:lnTo>
                    <a:pt x="375" y="88"/>
                  </a:lnTo>
                  <a:lnTo>
                    <a:pt x="371" y="89"/>
                  </a:lnTo>
                  <a:lnTo>
                    <a:pt x="367" y="89"/>
                  </a:lnTo>
                  <a:lnTo>
                    <a:pt x="357" y="88"/>
                  </a:lnTo>
                  <a:lnTo>
                    <a:pt x="349" y="82"/>
                  </a:lnTo>
                  <a:lnTo>
                    <a:pt x="345" y="75"/>
                  </a:lnTo>
                  <a:lnTo>
                    <a:pt x="342" y="67"/>
                  </a:lnTo>
                  <a:lnTo>
                    <a:pt x="342" y="59"/>
                  </a:lnTo>
                  <a:lnTo>
                    <a:pt x="343" y="47"/>
                  </a:lnTo>
                  <a:lnTo>
                    <a:pt x="348" y="36"/>
                  </a:lnTo>
                  <a:lnTo>
                    <a:pt x="354" y="30"/>
                  </a:lnTo>
                  <a:lnTo>
                    <a:pt x="367" y="27"/>
                  </a:lnTo>
                  <a:close/>
                  <a:moveTo>
                    <a:pt x="264" y="27"/>
                  </a:moveTo>
                  <a:lnTo>
                    <a:pt x="266" y="27"/>
                  </a:lnTo>
                  <a:lnTo>
                    <a:pt x="269" y="27"/>
                  </a:lnTo>
                  <a:lnTo>
                    <a:pt x="269" y="36"/>
                  </a:lnTo>
                  <a:lnTo>
                    <a:pt x="266" y="36"/>
                  </a:lnTo>
                  <a:lnTo>
                    <a:pt x="264" y="36"/>
                  </a:lnTo>
                  <a:lnTo>
                    <a:pt x="257" y="37"/>
                  </a:lnTo>
                  <a:lnTo>
                    <a:pt x="251" y="44"/>
                  </a:lnTo>
                  <a:lnTo>
                    <a:pt x="250" y="51"/>
                  </a:lnTo>
                  <a:lnTo>
                    <a:pt x="249" y="59"/>
                  </a:lnTo>
                  <a:lnTo>
                    <a:pt x="249" y="89"/>
                  </a:lnTo>
                  <a:lnTo>
                    <a:pt x="242" y="89"/>
                  </a:lnTo>
                  <a:lnTo>
                    <a:pt x="242" y="42"/>
                  </a:lnTo>
                  <a:lnTo>
                    <a:pt x="242" y="38"/>
                  </a:lnTo>
                  <a:lnTo>
                    <a:pt x="242" y="34"/>
                  </a:lnTo>
                  <a:lnTo>
                    <a:pt x="242" y="31"/>
                  </a:lnTo>
                  <a:lnTo>
                    <a:pt x="240" y="29"/>
                  </a:lnTo>
                  <a:lnTo>
                    <a:pt x="249" y="29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50" y="37"/>
                  </a:lnTo>
                  <a:lnTo>
                    <a:pt x="253" y="33"/>
                  </a:lnTo>
                  <a:lnTo>
                    <a:pt x="255" y="30"/>
                  </a:lnTo>
                  <a:lnTo>
                    <a:pt x="260" y="27"/>
                  </a:lnTo>
                  <a:lnTo>
                    <a:pt x="264" y="27"/>
                  </a:lnTo>
                  <a:close/>
                  <a:moveTo>
                    <a:pt x="183" y="7"/>
                  </a:moveTo>
                  <a:lnTo>
                    <a:pt x="224" y="7"/>
                  </a:lnTo>
                  <a:lnTo>
                    <a:pt x="224" y="14"/>
                  </a:lnTo>
                  <a:lnTo>
                    <a:pt x="191" y="14"/>
                  </a:lnTo>
                  <a:lnTo>
                    <a:pt x="191" y="42"/>
                  </a:lnTo>
                  <a:lnTo>
                    <a:pt x="221" y="42"/>
                  </a:lnTo>
                  <a:lnTo>
                    <a:pt x="221" y="51"/>
                  </a:lnTo>
                  <a:lnTo>
                    <a:pt x="191" y="51"/>
                  </a:lnTo>
                  <a:lnTo>
                    <a:pt x="191" y="82"/>
                  </a:lnTo>
                  <a:lnTo>
                    <a:pt x="225" y="82"/>
                  </a:lnTo>
                  <a:lnTo>
                    <a:pt x="225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2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45" y="89"/>
                  </a:lnTo>
                  <a:lnTo>
                    <a:pt x="38" y="89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2" y="5"/>
                  </a:moveTo>
                  <a:lnTo>
                    <a:pt x="161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2" y="5"/>
                  </a:lnTo>
                  <a:close/>
                  <a:moveTo>
                    <a:pt x="319" y="0"/>
                  </a:moveTo>
                  <a:lnTo>
                    <a:pt x="327" y="0"/>
                  </a:lnTo>
                  <a:lnTo>
                    <a:pt x="327" y="89"/>
                  </a:lnTo>
                  <a:lnTo>
                    <a:pt x="319" y="89"/>
                  </a:lnTo>
                  <a:lnTo>
                    <a:pt x="319" y="80"/>
                  </a:lnTo>
                  <a:lnTo>
                    <a:pt x="319" y="80"/>
                  </a:lnTo>
                  <a:lnTo>
                    <a:pt x="316" y="85"/>
                  </a:lnTo>
                  <a:lnTo>
                    <a:pt x="312" y="88"/>
                  </a:lnTo>
                  <a:lnTo>
                    <a:pt x="306" y="91"/>
                  </a:lnTo>
                  <a:lnTo>
                    <a:pt x="301" y="91"/>
                  </a:lnTo>
                  <a:lnTo>
                    <a:pt x="290" y="88"/>
                  </a:lnTo>
                  <a:lnTo>
                    <a:pt x="282" y="82"/>
                  </a:lnTo>
                  <a:lnTo>
                    <a:pt x="277" y="71"/>
                  </a:lnTo>
                  <a:lnTo>
                    <a:pt x="275" y="59"/>
                  </a:lnTo>
                  <a:lnTo>
                    <a:pt x="276" y="47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301" y="27"/>
                  </a:lnTo>
                  <a:lnTo>
                    <a:pt x="306" y="27"/>
                  </a:lnTo>
                  <a:lnTo>
                    <a:pt x="310" y="30"/>
                  </a:lnTo>
                  <a:lnTo>
                    <a:pt x="313" y="31"/>
                  </a:lnTo>
                  <a:lnTo>
                    <a:pt x="316" y="34"/>
                  </a:lnTo>
                  <a:lnTo>
                    <a:pt x="319" y="37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39"/>
            <p:cNvSpPr>
              <a:spLocks noEditPoints="1"/>
            </p:cNvSpPr>
            <p:nvPr userDrawn="1"/>
          </p:nvSpPr>
          <p:spPr bwMode="auto">
            <a:xfrm>
              <a:off x="4123690" y="6142701"/>
              <a:ext cx="357891" cy="91331"/>
            </a:xfrm>
            <a:custGeom>
              <a:avLst/>
              <a:gdLst>
                <a:gd name="T0" fmla="*/ 266 w 337"/>
                <a:gd name="T1" fmla="*/ 29 h 86"/>
                <a:gd name="T2" fmla="*/ 259 w 337"/>
                <a:gd name="T3" fmla="*/ 35 h 86"/>
                <a:gd name="T4" fmla="*/ 255 w 337"/>
                <a:gd name="T5" fmla="*/ 44 h 86"/>
                <a:gd name="T6" fmla="*/ 286 w 337"/>
                <a:gd name="T7" fmla="*/ 50 h 86"/>
                <a:gd name="T8" fmla="*/ 286 w 337"/>
                <a:gd name="T9" fmla="*/ 42 h 86"/>
                <a:gd name="T10" fmla="*/ 282 w 337"/>
                <a:gd name="T11" fmla="*/ 33 h 86"/>
                <a:gd name="T12" fmla="*/ 275 w 337"/>
                <a:gd name="T13" fmla="*/ 29 h 86"/>
                <a:gd name="T14" fmla="*/ 271 w 337"/>
                <a:gd name="T15" fmla="*/ 22 h 86"/>
                <a:gd name="T16" fmla="*/ 289 w 337"/>
                <a:gd name="T17" fmla="*/ 31 h 86"/>
                <a:gd name="T18" fmla="*/ 294 w 337"/>
                <a:gd name="T19" fmla="*/ 53 h 86"/>
                <a:gd name="T20" fmla="*/ 253 w 337"/>
                <a:gd name="T21" fmla="*/ 57 h 86"/>
                <a:gd name="T22" fmla="*/ 259 w 337"/>
                <a:gd name="T23" fmla="*/ 73 h 86"/>
                <a:gd name="T24" fmla="*/ 274 w 337"/>
                <a:gd name="T25" fmla="*/ 80 h 86"/>
                <a:gd name="T26" fmla="*/ 282 w 337"/>
                <a:gd name="T27" fmla="*/ 77 h 86"/>
                <a:gd name="T28" fmla="*/ 290 w 337"/>
                <a:gd name="T29" fmla="*/ 75 h 86"/>
                <a:gd name="T30" fmla="*/ 285 w 337"/>
                <a:gd name="T31" fmla="*/ 84 h 86"/>
                <a:gd name="T32" fmla="*/ 273 w 337"/>
                <a:gd name="T33" fmla="*/ 86 h 86"/>
                <a:gd name="T34" fmla="*/ 252 w 337"/>
                <a:gd name="T35" fmla="*/ 77 h 86"/>
                <a:gd name="T36" fmla="*/ 245 w 337"/>
                <a:gd name="T37" fmla="*/ 54 h 86"/>
                <a:gd name="T38" fmla="*/ 252 w 337"/>
                <a:gd name="T39" fmla="*/ 31 h 86"/>
                <a:gd name="T40" fmla="*/ 271 w 337"/>
                <a:gd name="T41" fmla="*/ 22 h 86"/>
                <a:gd name="T42" fmla="*/ 220 w 337"/>
                <a:gd name="T43" fmla="*/ 24 h 86"/>
                <a:gd name="T44" fmla="*/ 230 w 337"/>
                <a:gd name="T45" fmla="*/ 36 h 86"/>
                <a:gd name="T46" fmla="*/ 231 w 337"/>
                <a:gd name="T47" fmla="*/ 84 h 86"/>
                <a:gd name="T48" fmla="*/ 223 w 337"/>
                <a:gd name="T49" fmla="*/ 47 h 86"/>
                <a:gd name="T50" fmla="*/ 222 w 337"/>
                <a:gd name="T51" fmla="*/ 37 h 86"/>
                <a:gd name="T52" fmla="*/ 218 w 337"/>
                <a:gd name="T53" fmla="*/ 31 h 86"/>
                <a:gd name="T54" fmla="*/ 209 w 337"/>
                <a:gd name="T55" fmla="*/ 29 h 86"/>
                <a:gd name="T56" fmla="*/ 196 w 337"/>
                <a:gd name="T57" fmla="*/ 35 h 86"/>
                <a:gd name="T58" fmla="*/ 191 w 337"/>
                <a:gd name="T59" fmla="*/ 51 h 86"/>
                <a:gd name="T60" fmla="*/ 183 w 337"/>
                <a:gd name="T61" fmla="*/ 84 h 86"/>
                <a:gd name="T62" fmla="*/ 183 w 337"/>
                <a:gd name="T63" fmla="*/ 31 h 86"/>
                <a:gd name="T64" fmla="*/ 190 w 337"/>
                <a:gd name="T65" fmla="*/ 24 h 86"/>
                <a:gd name="T66" fmla="*/ 190 w 337"/>
                <a:gd name="T67" fmla="*/ 35 h 86"/>
                <a:gd name="T68" fmla="*/ 194 w 337"/>
                <a:gd name="T69" fmla="*/ 29 h 86"/>
                <a:gd name="T70" fmla="*/ 200 w 337"/>
                <a:gd name="T71" fmla="*/ 24 h 86"/>
                <a:gd name="T72" fmla="*/ 211 w 337"/>
                <a:gd name="T73" fmla="*/ 22 h 86"/>
                <a:gd name="T74" fmla="*/ 322 w 337"/>
                <a:gd name="T75" fmla="*/ 24 h 86"/>
                <a:gd name="T76" fmla="*/ 336 w 337"/>
                <a:gd name="T77" fmla="*/ 31 h 86"/>
                <a:gd name="T78" fmla="*/ 322 w 337"/>
                <a:gd name="T79" fmla="*/ 69 h 86"/>
                <a:gd name="T80" fmla="*/ 323 w 337"/>
                <a:gd name="T81" fmla="*/ 76 h 86"/>
                <a:gd name="T82" fmla="*/ 326 w 337"/>
                <a:gd name="T83" fmla="*/ 79 h 86"/>
                <a:gd name="T84" fmla="*/ 333 w 337"/>
                <a:gd name="T85" fmla="*/ 79 h 86"/>
                <a:gd name="T86" fmla="*/ 337 w 337"/>
                <a:gd name="T87" fmla="*/ 84 h 86"/>
                <a:gd name="T88" fmla="*/ 332 w 337"/>
                <a:gd name="T89" fmla="*/ 86 h 86"/>
                <a:gd name="T90" fmla="*/ 323 w 337"/>
                <a:gd name="T91" fmla="*/ 86 h 86"/>
                <a:gd name="T92" fmla="*/ 316 w 337"/>
                <a:gd name="T93" fmla="*/ 81 h 86"/>
                <a:gd name="T94" fmla="*/ 315 w 337"/>
                <a:gd name="T95" fmla="*/ 75 h 86"/>
                <a:gd name="T96" fmla="*/ 314 w 337"/>
                <a:gd name="T97" fmla="*/ 65 h 86"/>
                <a:gd name="T98" fmla="*/ 303 w 337"/>
                <a:gd name="T99" fmla="*/ 31 h 86"/>
                <a:gd name="T100" fmla="*/ 314 w 337"/>
                <a:gd name="T101" fmla="*/ 24 h 86"/>
                <a:gd name="T102" fmla="*/ 322 w 337"/>
                <a:gd name="T103" fmla="*/ 6 h 86"/>
                <a:gd name="T104" fmla="*/ 14 w 337"/>
                <a:gd name="T105" fmla="*/ 2 h 86"/>
                <a:gd name="T106" fmla="*/ 75 w 337"/>
                <a:gd name="T107" fmla="*/ 2 h 86"/>
                <a:gd name="T108" fmla="*/ 87 w 337"/>
                <a:gd name="T109" fmla="*/ 84 h 86"/>
                <a:gd name="T110" fmla="*/ 79 w 337"/>
                <a:gd name="T111" fmla="*/ 10 h 86"/>
                <a:gd name="T112" fmla="*/ 47 w 337"/>
                <a:gd name="T113" fmla="*/ 84 h 86"/>
                <a:gd name="T114" fmla="*/ 10 w 337"/>
                <a:gd name="T115" fmla="*/ 10 h 86"/>
                <a:gd name="T116" fmla="*/ 9 w 337"/>
                <a:gd name="T117" fmla="*/ 84 h 86"/>
                <a:gd name="T118" fmla="*/ 0 w 337"/>
                <a:gd name="T119" fmla="*/ 2 h 86"/>
                <a:gd name="T120" fmla="*/ 163 w 337"/>
                <a:gd name="T121" fmla="*/ 0 h 86"/>
                <a:gd name="T122" fmla="*/ 108 w 337"/>
                <a:gd name="T12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" h="86">
                  <a:moveTo>
                    <a:pt x="271" y="29"/>
                  </a:moveTo>
                  <a:lnTo>
                    <a:pt x="266" y="29"/>
                  </a:lnTo>
                  <a:lnTo>
                    <a:pt x="262" y="32"/>
                  </a:lnTo>
                  <a:lnTo>
                    <a:pt x="259" y="35"/>
                  </a:lnTo>
                  <a:lnTo>
                    <a:pt x="256" y="40"/>
                  </a:lnTo>
                  <a:lnTo>
                    <a:pt x="255" y="44"/>
                  </a:lnTo>
                  <a:lnTo>
                    <a:pt x="253" y="50"/>
                  </a:lnTo>
                  <a:lnTo>
                    <a:pt x="286" y="50"/>
                  </a:lnTo>
                  <a:lnTo>
                    <a:pt x="286" y="46"/>
                  </a:lnTo>
                  <a:lnTo>
                    <a:pt x="286" y="42"/>
                  </a:lnTo>
                  <a:lnTo>
                    <a:pt x="285" y="37"/>
                  </a:lnTo>
                  <a:lnTo>
                    <a:pt x="282" y="33"/>
                  </a:lnTo>
                  <a:lnTo>
                    <a:pt x="279" y="31"/>
                  </a:lnTo>
                  <a:lnTo>
                    <a:pt x="275" y="29"/>
                  </a:lnTo>
                  <a:lnTo>
                    <a:pt x="271" y="29"/>
                  </a:lnTo>
                  <a:close/>
                  <a:moveTo>
                    <a:pt x="271" y="22"/>
                  </a:moveTo>
                  <a:lnTo>
                    <a:pt x="282" y="25"/>
                  </a:lnTo>
                  <a:lnTo>
                    <a:pt x="289" y="31"/>
                  </a:lnTo>
                  <a:lnTo>
                    <a:pt x="293" y="40"/>
                  </a:lnTo>
                  <a:lnTo>
                    <a:pt x="294" y="53"/>
                  </a:lnTo>
                  <a:lnTo>
                    <a:pt x="294" y="57"/>
                  </a:lnTo>
                  <a:lnTo>
                    <a:pt x="253" y="57"/>
                  </a:lnTo>
                  <a:lnTo>
                    <a:pt x="255" y="65"/>
                  </a:lnTo>
                  <a:lnTo>
                    <a:pt x="259" y="73"/>
                  </a:lnTo>
                  <a:lnTo>
                    <a:pt x="264" y="77"/>
                  </a:lnTo>
                  <a:lnTo>
                    <a:pt x="274" y="80"/>
                  </a:lnTo>
                  <a:lnTo>
                    <a:pt x="278" y="79"/>
                  </a:lnTo>
                  <a:lnTo>
                    <a:pt x="282" y="77"/>
                  </a:lnTo>
                  <a:lnTo>
                    <a:pt x="288" y="76"/>
                  </a:lnTo>
                  <a:lnTo>
                    <a:pt x="290" y="75"/>
                  </a:lnTo>
                  <a:lnTo>
                    <a:pt x="290" y="83"/>
                  </a:lnTo>
                  <a:lnTo>
                    <a:pt x="285" y="84"/>
                  </a:lnTo>
                  <a:lnTo>
                    <a:pt x="279" y="86"/>
                  </a:lnTo>
                  <a:lnTo>
                    <a:pt x="273" y="86"/>
                  </a:lnTo>
                  <a:lnTo>
                    <a:pt x="260" y="83"/>
                  </a:lnTo>
                  <a:lnTo>
                    <a:pt x="252" y="77"/>
                  </a:lnTo>
                  <a:lnTo>
                    <a:pt x="246" y="66"/>
                  </a:lnTo>
                  <a:lnTo>
                    <a:pt x="245" y="54"/>
                  </a:lnTo>
                  <a:lnTo>
                    <a:pt x="248" y="42"/>
                  </a:lnTo>
                  <a:lnTo>
                    <a:pt x="252" y="31"/>
                  </a:lnTo>
                  <a:lnTo>
                    <a:pt x="260" y="25"/>
                  </a:lnTo>
                  <a:lnTo>
                    <a:pt x="271" y="22"/>
                  </a:lnTo>
                  <a:close/>
                  <a:moveTo>
                    <a:pt x="211" y="22"/>
                  </a:moveTo>
                  <a:lnTo>
                    <a:pt x="220" y="24"/>
                  </a:lnTo>
                  <a:lnTo>
                    <a:pt x="226" y="29"/>
                  </a:lnTo>
                  <a:lnTo>
                    <a:pt x="230" y="36"/>
                  </a:lnTo>
                  <a:lnTo>
                    <a:pt x="231" y="46"/>
                  </a:lnTo>
                  <a:lnTo>
                    <a:pt x="231" y="84"/>
                  </a:lnTo>
                  <a:lnTo>
                    <a:pt x="223" y="84"/>
                  </a:lnTo>
                  <a:lnTo>
                    <a:pt x="223" y="47"/>
                  </a:lnTo>
                  <a:lnTo>
                    <a:pt x="223" y="42"/>
                  </a:lnTo>
                  <a:lnTo>
                    <a:pt x="222" y="37"/>
                  </a:lnTo>
                  <a:lnTo>
                    <a:pt x="220" y="33"/>
                  </a:lnTo>
                  <a:lnTo>
                    <a:pt x="218" y="31"/>
                  </a:lnTo>
                  <a:lnTo>
                    <a:pt x="213" y="29"/>
                  </a:lnTo>
                  <a:lnTo>
                    <a:pt x="209" y="29"/>
                  </a:lnTo>
                  <a:lnTo>
                    <a:pt x="201" y="31"/>
                  </a:lnTo>
                  <a:lnTo>
                    <a:pt x="196" y="35"/>
                  </a:lnTo>
                  <a:lnTo>
                    <a:pt x="191" y="43"/>
                  </a:lnTo>
                  <a:lnTo>
                    <a:pt x="191" y="51"/>
                  </a:lnTo>
                  <a:lnTo>
                    <a:pt x="191" y="84"/>
                  </a:lnTo>
                  <a:lnTo>
                    <a:pt x="183" y="84"/>
                  </a:lnTo>
                  <a:lnTo>
                    <a:pt x="183" y="37"/>
                  </a:lnTo>
                  <a:lnTo>
                    <a:pt x="183" y="31"/>
                  </a:lnTo>
                  <a:lnTo>
                    <a:pt x="183" y="24"/>
                  </a:lnTo>
                  <a:lnTo>
                    <a:pt x="190" y="24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3" y="32"/>
                  </a:lnTo>
                  <a:lnTo>
                    <a:pt x="194" y="29"/>
                  </a:lnTo>
                  <a:lnTo>
                    <a:pt x="197" y="26"/>
                  </a:lnTo>
                  <a:lnTo>
                    <a:pt x="200" y="24"/>
                  </a:lnTo>
                  <a:lnTo>
                    <a:pt x="205" y="22"/>
                  </a:lnTo>
                  <a:lnTo>
                    <a:pt x="211" y="22"/>
                  </a:lnTo>
                  <a:close/>
                  <a:moveTo>
                    <a:pt x="322" y="6"/>
                  </a:moveTo>
                  <a:lnTo>
                    <a:pt x="322" y="24"/>
                  </a:lnTo>
                  <a:lnTo>
                    <a:pt x="336" y="24"/>
                  </a:lnTo>
                  <a:lnTo>
                    <a:pt x="336" y="31"/>
                  </a:lnTo>
                  <a:lnTo>
                    <a:pt x="322" y="31"/>
                  </a:lnTo>
                  <a:lnTo>
                    <a:pt x="322" y="69"/>
                  </a:lnTo>
                  <a:lnTo>
                    <a:pt x="322" y="73"/>
                  </a:lnTo>
                  <a:lnTo>
                    <a:pt x="323" y="76"/>
                  </a:lnTo>
                  <a:lnTo>
                    <a:pt x="325" y="77"/>
                  </a:lnTo>
                  <a:lnTo>
                    <a:pt x="326" y="79"/>
                  </a:lnTo>
                  <a:lnTo>
                    <a:pt x="330" y="80"/>
                  </a:lnTo>
                  <a:lnTo>
                    <a:pt x="333" y="79"/>
                  </a:lnTo>
                  <a:lnTo>
                    <a:pt x="337" y="77"/>
                  </a:lnTo>
                  <a:lnTo>
                    <a:pt x="337" y="84"/>
                  </a:lnTo>
                  <a:lnTo>
                    <a:pt x="334" y="86"/>
                  </a:lnTo>
                  <a:lnTo>
                    <a:pt x="332" y="86"/>
                  </a:lnTo>
                  <a:lnTo>
                    <a:pt x="327" y="86"/>
                  </a:lnTo>
                  <a:lnTo>
                    <a:pt x="323" y="86"/>
                  </a:lnTo>
                  <a:lnTo>
                    <a:pt x="319" y="84"/>
                  </a:lnTo>
                  <a:lnTo>
                    <a:pt x="316" y="81"/>
                  </a:lnTo>
                  <a:lnTo>
                    <a:pt x="315" y="79"/>
                  </a:lnTo>
                  <a:lnTo>
                    <a:pt x="315" y="75"/>
                  </a:lnTo>
                  <a:lnTo>
                    <a:pt x="314" y="70"/>
                  </a:lnTo>
                  <a:lnTo>
                    <a:pt x="314" y="65"/>
                  </a:lnTo>
                  <a:lnTo>
                    <a:pt x="314" y="31"/>
                  </a:lnTo>
                  <a:lnTo>
                    <a:pt x="303" y="31"/>
                  </a:lnTo>
                  <a:lnTo>
                    <a:pt x="303" y="24"/>
                  </a:lnTo>
                  <a:lnTo>
                    <a:pt x="314" y="24"/>
                  </a:lnTo>
                  <a:lnTo>
                    <a:pt x="314" y="9"/>
                  </a:lnTo>
                  <a:lnTo>
                    <a:pt x="322" y="6"/>
                  </a:lnTo>
                  <a:close/>
                  <a:moveTo>
                    <a:pt x="0" y="2"/>
                  </a:moveTo>
                  <a:lnTo>
                    <a:pt x="14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7" y="2"/>
                  </a:lnTo>
                  <a:lnTo>
                    <a:pt x="87" y="84"/>
                  </a:lnTo>
                  <a:lnTo>
                    <a:pt x="79" y="84"/>
                  </a:lnTo>
                  <a:lnTo>
                    <a:pt x="79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2" name="Gruppieren 111"/>
          <p:cNvGrpSpPr/>
          <p:nvPr userDrawn="1"/>
        </p:nvGrpSpPr>
        <p:grpSpPr>
          <a:xfrm>
            <a:off x="6926263" y="293688"/>
            <a:ext cx="1863725" cy="347663"/>
            <a:chOff x="6926263" y="295276"/>
            <a:chExt cx="1863725" cy="347663"/>
          </a:xfrm>
        </p:grpSpPr>
        <p:sp>
          <p:nvSpPr>
            <p:cNvPr id="113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9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0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1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2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3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4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5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6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7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8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9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0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1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2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3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4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24705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0838" y="1701800"/>
            <a:ext cx="8440737" cy="92232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defRPr sz="2800" b="1" cap="none" baseline="0"/>
            </a:lvl1pPr>
          </a:lstStyle>
          <a:p>
            <a:r>
              <a:rPr lang="de-DE" dirty="0" smtClean="0"/>
              <a:t>Mastertitelformat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7951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70336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0838" y="1701800"/>
            <a:ext cx="8440737" cy="92232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defRPr sz="2800" b="1" cap="none" baseline="0"/>
            </a:lvl1pPr>
          </a:lstStyle>
          <a:p>
            <a:r>
              <a:rPr lang="de-DE" dirty="0" smtClean="0"/>
              <a:t>Mastertitelformat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350838" y="2997288"/>
            <a:ext cx="8424000" cy="32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64898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7" y="1701799"/>
            <a:ext cx="8440737" cy="453548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5647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7" y="5098212"/>
            <a:ext cx="8440737" cy="113907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2"/>
          </p:nvPr>
        </p:nvSpPr>
        <p:spPr>
          <a:xfrm>
            <a:off x="350838" y="1701800"/>
            <a:ext cx="8424000" cy="324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5064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7" y="4028536"/>
            <a:ext cx="8440737" cy="220875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2"/>
          </p:nvPr>
        </p:nvSpPr>
        <p:spPr>
          <a:xfrm>
            <a:off x="350838" y="1701800"/>
            <a:ext cx="4140200" cy="216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51375" y="1701800"/>
            <a:ext cx="4140200" cy="2160000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0026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225800" y="1701800"/>
            <a:ext cx="5565775" cy="45354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350837" y="1701800"/>
            <a:ext cx="2700000" cy="4535488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1580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0838" y="206375"/>
            <a:ext cx="8440737" cy="184666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Kapitelangab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50839" y="1701800"/>
            <a:ext cx="5580062" cy="45354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6091575" y="1701800"/>
            <a:ext cx="2700000" cy="4535488"/>
          </a:xfrm>
          <a:solidFill>
            <a:srgbClr val="B7C4CB"/>
          </a:solidFill>
        </p:spPr>
        <p:txBody>
          <a:bodyPr/>
          <a:lstStyle>
            <a:lvl1pPr marL="0" indent="0" algn="l">
              <a:buFontTx/>
              <a:buNone/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3485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50839" y="1701799"/>
            <a:ext cx="8440735" cy="45354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350839" y="730250"/>
            <a:ext cx="8440736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-426356" y="-358752"/>
            <a:ext cx="9978571" cy="7612743"/>
            <a:chOff x="-426356" y="-358752"/>
            <a:chExt cx="9978571" cy="7612743"/>
          </a:xfrm>
        </p:grpSpPr>
        <p:cxnSp>
          <p:nvCxnSpPr>
            <p:cNvPr id="5" name="Gerade Verbindung 4"/>
            <p:cNvCxnSpPr/>
            <p:nvPr userDrawn="1"/>
          </p:nvCxnSpPr>
          <p:spPr>
            <a:xfrm flipH="1">
              <a:off x="-426356" y="20558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>
            <a:xfrm flipH="1">
              <a:off x="-426356" y="728663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 flipH="1">
              <a:off x="-426356" y="1698625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H="1">
              <a:off x="-426356" y="6237288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H="1">
              <a:off x="-426356" y="6634163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H="1">
              <a:off x="9298215" y="20558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flipH="1">
              <a:off x="9298215" y="728663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flipH="1">
              <a:off x="9298215" y="1698625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 flipH="1">
              <a:off x="9298215" y="6237288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flipH="1">
              <a:off x="9298215" y="6634163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H="1">
              <a:off x="220662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 rot="5400000" flipH="1">
              <a:off x="2932113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H="1">
              <a:off x="4363245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H="1">
              <a:off x="4522788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H="1">
              <a:off x="8662194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H="1">
              <a:off x="220662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>
            <a:xfrm rot="5400000" flipH="1">
              <a:off x="8662194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>
            <a:xfrm rot="5400000" flipH="1">
              <a:off x="3093244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H="1">
              <a:off x="5801519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H="1">
              <a:off x="5967412" y="-231752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5400000" flipH="1">
              <a:off x="2932113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rot="5400000" flipH="1">
              <a:off x="4363245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rot="5400000" flipH="1">
              <a:off x="4522788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H="1">
              <a:off x="3093244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 rot="5400000" flipH="1">
              <a:off x="5801519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>
            <a:xfrm rot="5400000" flipH="1">
              <a:off x="5967412" y="7126991"/>
              <a:ext cx="254000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/>
          <p:cNvGrpSpPr/>
          <p:nvPr/>
        </p:nvGrpSpPr>
        <p:grpSpPr>
          <a:xfrm>
            <a:off x="8015288" y="6408738"/>
            <a:ext cx="774701" cy="265113"/>
            <a:chOff x="8015288" y="6408738"/>
            <a:chExt cx="774701" cy="265113"/>
          </a:xfrm>
        </p:grpSpPr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8435976" y="6408738"/>
              <a:ext cx="190500" cy="265113"/>
            </a:xfrm>
            <a:custGeom>
              <a:avLst/>
              <a:gdLst>
                <a:gd name="T0" fmla="*/ 618 w 836"/>
                <a:gd name="T1" fmla="*/ 0 h 1167"/>
                <a:gd name="T2" fmla="*/ 836 w 836"/>
                <a:gd name="T3" fmla="*/ 0 h 1167"/>
                <a:gd name="T4" fmla="*/ 220 w 836"/>
                <a:gd name="T5" fmla="*/ 1167 h 1167"/>
                <a:gd name="T6" fmla="*/ 0 w 836"/>
                <a:gd name="T7" fmla="*/ 1167 h 1167"/>
                <a:gd name="T8" fmla="*/ 618 w 836"/>
                <a:gd name="T9" fmla="*/ 0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6" h="1167">
                  <a:moveTo>
                    <a:pt x="618" y="0"/>
                  </a:moveTo>
                  <a:lnTo>
                    <a:pt x="836" y="0"/>
                  </a:lnTo>
                  <a:lnTo>
                    <a:pt x="220" y="1167"/>
                  </a:lnTo>
                  <a:lnTo>
                    <a:pt x="0" y="1167"/>
                  </a:lnTo>
                  <a:lnTo>
                    <a:pt x="618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8355013" y="6408738"/>
              <a:ext cx="188913" cy="265113"/>
            </a:xfrm>
            <a:custGeom>
              <a:avLst/>
              <a:gdLst>
                <a:gd name="T0" fmla="*/ 618 w 837"/>
                <a:gd name="T1" fmla="*/ 0 h 1167"/>
                <a:gd name="T2" fmla="*/ 837 w 837"/>
                <a:gd name="T3" fmla="*/ 0 h 1167"/>
                <a:gd name="T4" fmla="*/ 219 w 837"/>
                <a:gd name="T5" fmla="*/ 1167 h 1167"/>
                <a:gd name="T6" fmla="*/ 0 w 837"/>
                <a:gd name="T7" fmla="*/ 1167 h 1167"/>
                <a:gd name="T8" fmla="*/ 618 w 837"/>
                <a:gd name="T9" fmla="*/ 0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7" h="1167">
                  <a:moveTo>
                    <a:pt x="618" y="0"/>
                  </a:moveTo>
                  <a:lnTo>
                    <a:pt x="837" y="0"/>
                  </a:lnTo>
                  <a:lnTo>
                    <a:pt x="219" y="1167"/>
                  </a:lnTo>
                  <a:lnTo>
                    <a:pt x="0" y="1167"/>
                  </a:lnTo>
                  <a:lnTo>
                    <a:pt x="618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8193088" y="6450013"/>
              <a:ext cx="247650" cy="182563"/>
            </a:xfrm>
            <a:custGeom>
              <a:avLst/>
              <a:gdLst>
                <a:gd name="T0" fmla="*/ 0 w 1098"/>
                <a:gd name="T1" fmla="*/ 0 h 809"/>
                <a:gd name="T2" fmla="*/ 200 w 1098"/>
                <a:gd name="T3" fmla="*/ 0 h 809"/>
                <a:gd name="T4" fmla="*/ 200 w 1098"/>
                <a:gd name="T5" fmla="*/ 431 h 809"/>
                <a:gd name="T6" fmla="*/ 446 w 1098"/>
                <a:gd name="T7" fmla="*/ 0 h 809"/>
                <a:gd name="T8" fmla="*/ 664 w 1098"/>
                <a:gd name="T9" fmla="*/ 0 h 809"/>
                <a:gd name="T10" fmla="*/ 664 w 1098"/>
                <a:gd name="T11" fmla="*/ 439 h 809"/>
                <a:gd name="T12" fmla="*/ 905 w 1098"/>
                <a:gd name="T13" fmla="*/ 0 h 809"/>
                <a:gd name="T14" fmla="*/ 1098 w 1098"/>
                <a:gd name="T15" fmla="*/ 0 h 809"/>
                <a:gd name="T16" fmla="*/ 667 w 1098"/>
                <a:gd name="T17" fmla="*/ 809 h 809"/>
                <a:gd name="T18" fmla="*/ 460 w 1098"/>
                <a:gd name="T19" fmla="*/ 809 h 809"/>
                <a:gd name="T20" fmla="*/ 460 w 1098"/>
                <a:gd name="T21" fmla="*/ 342 h 809"/>
                <a:gd name="T22" fmla="*/ 200 w 1098"/>
                <a:gd name="T23" fmla="*/ 809 h 809"/>
                <a:gd name="T24" fmla="*/ 0 w 1098"/>
                <a:gd name="T25" fmla="*/ 809 h 809"/>
                <a:gd name="T26" fmla="*/ 0 w 1098"/>
                <a:gd name="T27" fmla="*/ 0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8" h="809">
                  <a:moveTo>
                    <a:pt x="0" y="0"/>
                  </a:moveTo>
                  <a:lnTo>
                    <a:pt x="200" y="0"/>
                  </a:lnTo>
                  <a:lnTo>
                    <a:pt x="200" y="431"/>
                  </a:lnTo>
                  <a:lnTo>
                    <a:pt x="446" y="0"/>
                  </a:lnTo>
                  <a:lnTo>
                    <a:pt x="664" y="0"/>
                  </a:lnTo>
                  <a:lnTo>
                    <a:pt x="664" y="439"/>
                  </a:lnTo>
                  <a:lnTo>
                    <a:pt x="905" y="0"/>
                  </a:lnTo>
                  <a:lnTo>
                    <a:pt x="1098" y="0"/>
                  </a:lnTo>
                  <a:lnTo>
                    <a:pt x="667" y="809"/>
                  </a:lnTo>
                  <a:lnTo>
                    <a:pt x="460" y="809"/>
                  </a:lnTo>
                  <a:lnTo>
                    <a:pt x="460" y="342"/>
                  </a:lnTo>
                  <a:lnTo>
                    <a:pt x="200" y="809"/>
                  </a:lnTo>
                  <a:lnTo>
                    <a:pt x="0" y="8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9"/>
            <p:cNvSpPr>
              <a:spLocks/>
            </p:cNvSpPr>
            <p:nvPr userDrawn="1"/>
          </p:nvSpPr>
          <p:spPr bwMode="auto">
            <a:xfrm>
              <a:off x="8540751" y="6450013"/>
              <a:ext cx="249238" cy="182563"/>
            </a:xfrm>
            <a:custGeom>
              <a:avLst/>
              <a:gdLst>
                <a:gd name="T0" fmla="*/ 428 w 1100"/>
                <a:gd name="T1" fmla="*/ 0 h 809"/>
                <a:gd name="T2" fmla="*/ 642 w 1100"/>
                <a:gd name="T3" fmla="*/ 0 h 809"/>
                <a:gd name="T4" fmla="*/ 642 w 1100"/>
                <a:gd name="T5" fmla="*/ 467 h 809"/>
                <a:gd name="T6" fmla="*/ 897 w 1100"/>
                <a:gd name="T7" fmla="*/ 0 h 809"/>
                <a:gd name="T8" fmla="*/ 1100 w 1100"/>
                <a:gd name="T9" fmla="*/ 0 h 809"/>
                <a:gd name="T10" fmla="*/ 1100 w 1100"/>
                <a:gd name="T11" fmla="*/ 809 h 809"/>
                <a:gd name="T12" fmla="*/ 897 w 1100"/>
                <a:gd name="T13" fmla="*/ 809 h 809"/>
                <a:gd name="T14" fmla="*/ 897 w 1100"/>
                <a:gd name="T15" fmla="*/ 378 h 809"/>
                <a:gd name="T16" fmla="*/ 642 w 1100"/>
                <a:gd name="T17" fmla="*/ 809 h 809"/>
                <a:gd name="T18" fmla="*/ 433 w 1100"/>
                <a:gd name="T19" fmla="*/ 809 h 809"/>
                <a:gd name="T20" fmla="*/ 433 w 1100"/>
                <a:gd name="T21" fmla="*/ 376 h 809"/>
                <a:gd name="T22" fmla="*/ 194 w 1100"/>
                <a:gd name="T23" fmla="*/ 809 h 809"/>
                <a:gd name="T24" fmla="*/ 0 w 1100"/>
                <a:gd name="T25" fmla="*/ 809 h 809"/>
                <a:gd name="T26" fmla="*/ 428 w 1100"/>
                <a:gd name="T27" fmla="*/ 0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00" h="809">
                  <a:moveTo>
                    <a:pt x="428" y="0"/>
                  </a:moveTo>
                  <a:lnTo>
                    <a:pt x="642" y="0"/>
                  </a:lnTo>
                  <a:lnTo>
                    <a:pt x="642" y="467"/>
                  </a:lnTo>
                  <a:lnTo>
                    <a:pt x="897" y="0"/>
                  </a:lnTo>
                  <a:lnTo>
                    <a:pt x="1100" y="0"/>
                  </a:lnTo>
                  <a:lnTo>
                    <a:pt x="1100" y="809"/>
                  </a:lnTo>
                  <a:lnTo>
                    <a:pt x="897" y="809"/>
                  </a:lnTo>
                  <a:lnTo>
                    <a:pt x="897" y="378"/>
                  </a:lnTo>
                  <a:lnTo>
                    <a:pt x="642" y="809"/>
                  </a:lnTo>
                  <a:lnTo>
                    <a:pt x="433" y="809"/>
                  </a:lnTo>
                  <a:lnTo>
                    <a:pt x="433" y="376"/>
                  </a:lnTo>
                  <a:lnTo>
                    <a:pt x="194" y="809"/>
                  </a:lnTo>
                  <a:lnTo>
                    <a:pt x="0" y="809"/>
                  </a:lnTo>
                  <a:lnTo>
                    <a:pt x="42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10"/>
            <p:cNvSpPr>
              <a:spLocks/>
            </p:cNvSpPr>
            <p:nvPr userDrawn="1"/>
          </p:nvSpPr>
          <p:spPr bwMode="auto">
            <a:xfrm>
              <a:off x="8015288" y="6442075"/>
              <a:ext cx="155575" cy="195263"/>
            </a:xfrm>
            <a:custGeom>
              <a:avLst/>
              <a:gdLst>
                <a:gd name="T0" fmla="*/ 432 w 688"/>
                <a:gd name="T1" fmla="*/ 8 h 862"/>
                <a:gd name="T2" fmla="*/ 542 w 688"/>
                <a:gd name="T3" fmla="*/ 51 h 862"/>
                <a:gd name="T4" fmla="*/ 623 w 688"/>
                <a:gd name="T5" fmla="*/ 122 h 862"/>
                <a:gd name="T6" fmla="*/ 665 w 688"/>
                <a:gd name="T7" fmla="*/ 214 h 862"/>
                <a:gd name="T8" fmla="*/ 459 w 688"/>
                <a:gd name="T9" fmla="*/ 271 h 862"/>
                <a:gd name="T10" fmla="*/ 447 w 688"/>
                <a:gd name="T11" fmla="*/ 218 h 862"/>
                <a:gd name="T12" fmla="*/ 396 w 688"/>
                <a:gd name="T13" fmla="*/ 181 h 862"/>
                <a:gd name="T14" fmla="*/ 333 w 688"/>
                <a:gd name="T15" fmla="*/ 173 h 862"/>
                <a:gd name="T16" fmla="*/ 271 w 688"/>
                <a:gd name="T17" fmla="*/ 186 h 862"/>
                <a:gd name="T18" fmla="*/ 237 w 688"/>
                <a:gd name="T19" fmla="*/ 217 h 862"/>
                <a:gd name="T20" fmla="*/ 238 w 688"/>
                <a:gd name="T21" fmla="*/ 256 h 862"/>
                <a:gd name="T22" fmla="*/ 284 w 688"/>
                <a:gd name="T23" fmla="*/ 295 h 862"/>
                <a:gd name="T24" fmla="*/ 332 w 688"/>
                <a:gd name="T25" fmla="*/ 313 h 862"/>
                <a:gd name="T26" fmla="*/ 388 w 688"/>
                <a:gd name="T27" fmla="*/ 329 h 862"/>
                <a:gd name="T28" fmla="*/ 444 w 688"/>
                <a:gd name="T29" fmla="*/ 346 h 862"/>
                <a:gd name="T30" fmla="*/ 498 w 688"/>
                <a:gd name="T31" fmla="*/ 365 h 862"/>
                <a:gd name="T32" fmla="*/ 544 w 688"/>
                <a:gd name="T33" fmla="*/ 384 h 862"/>
                <a:gd name="T34" fmla="*/ 566 w 688"/>
                <a:gd name="T35" fmla="*/ 394 h 862"/>
                <a:gd name="T36" fmla="*/ 643 w 688"/>
                <a:gd name="T37" fmla="*/ 453 h 862"/>
                <a:gd name="T38" fmla="*/ 685 w 688"/>
                <a:gd name="T39" fmla="*/ 537 h 862"/>
                <a:gd name="T40" fmla="*/ 684 w 688"/>
                <a:gd name="T41" fmla="*/ 646 h 862"/>
                <a:gd name="T42" fmla="*/ 643 w 688"/>
                <a:gd name="T43" fmla="*/ 744 h 862"/>
                <a:gd name="T44" fmla="*/ 562 w 688"/>
                <a:gd name="T45" fmla="*/ 814 h 862"/>
                <a:gd name="T46" fmla="*/ 443 w 688"/>
                <a:gd name="T47" fmla="*/ 854 h 862"/>
                <a:gd name="T48" fmla="*/ 293 w 688"/>
                <a:gd name="T49" fmla="*/ 859 h 862"/>
                <a:gd name="T50" fmla="*/ 165 w 688"/>
                <a:gd name="T51" fmla="*/ 831 h 862"/>
                <a:gd name="T52" fmla="*/ 73 w 688"/>
                <a:gd name="T53" fmla="*/ 772 h 862"/>
                <a:gd name="T54" fmla="*/ 19 w 688"/>
                <a:gd name="T55" fmla="*/ 683 h 862"/>
                <a:gd name="T56" fmla="*/ 0 w 688"/>
                <a:gd name="T57" fmla="*/ 566 h 862"/>
                <a:gd name="T58" fmla="*/ 219 w 688"/>
                <a:gd name="T59" fmla="*/ 620 h 862"/>
                <a:gd name="T60" fmla="*/ 268 w 688"/>
                <a:gd name="T61" fmla="*/ 681 h 862"/>
                <a:gd name="T62" fmla="*/ 344 w 688"/>
                <a:gd name="T63" fmla="*/ 703 h 862"/>
                <a:gd name="T64" fmla="*/ 420 w 688"/>
                <a:gd name="T65" fmla="*/ 689 h 862"/>
                <a:gd name="T66" fmla="*/ 469 w 688"/>
                <a:gd name="T67" fmla="*/ 651 h 862"/>
                <a:gd name="T68" fmla="*/ 479 w 688"/>
                <a:gd name="T69" fmla="*/ 604 h 862"/>
                <a:gd name="T70" fmla="*/ 460 w 688"/>
                <a:gd name="T71" fmla="*/ 567 h 862"/>
                <a:gd name="T72" fmla="*/ 403 w 688"/>
                <a:gd name="T73" fmla="*/ 539 h 862"/>
                <a:gd name="T74" fmla="*/ 383 w 688"/>
                <a:gd name="T75" fmla="*/ 532 h 862"/>
                <a:gd name="T76" fmla="*/ 342 w 688"/>
                <a:gd name="T77" fmla="*/ 519 h 862"/>
                <a:gd name="T78" fmla="*/ 285 w 688"/>
                <a:gd name="T79" fmla="*/ 503 h 862"/>
                <a:gd name="T80" fmla="*/ 220 w 688"/>
                <a:gd name="T81" fmla="*/ 484 h 862"/>
                <a:gd name="T82" fmla="*/ 171 w 688"/>
                <a:gd name="T83" fmla="*/ 464 h 862"/>
                <a:gd name="T84" fmla="*/ 89 w 688"/>
                <a:gd name="T85" fmla="*/ 409 h 862"/>
                <a:gd name="T86" fmla="*/ 34 w 688"/>
                <a:gd name="T87" fmla="*/ 318 h 862"/>
                <a:gd name="T88" fmla="*/ 28 w 688"/>
                <a:gd name="T89" fmla="*/ 213 h 862"/>
                <a:gd name="T90" fmla="*/ 67 w 688"/>
                <a:gd name="T91" fmla="*/ 121 h 862"/>
                <a:gd name="T92" fmla="*/ 149 w 688"/>
                <a:gd name="T93" fmla="*/ 50 h 862"/>
                <a:gd name="T94" fmla="*/ 261 w 688"/>
                <a:gd name="T95" fmla="*/ 8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8" h="862">
                  <a:moveTo>
                    <a:pt x="347" y="0"/>
                  </a:moveTo>
                  <a:lnTo>
                    <a:pt x="390" y="2"/>
                  </a:lnTo>
                  <a:lnTo>
                    <a:pt x="432" y="8"/>
                  </a:lnTo>
                  <a:lnTo>
                    <a:pt x="471" y="19"/>
                  </a:lnTo>
                  <a:lnTo>
                    <a:pt x="508" y="34"/>
                  </a:lnTo>
                  <a:lnTo>
                    <a:pt x="542" y="51"/>
                  </a:lnTo>
                  <a:lnTo>
                    <a:pt x="573" y="73"/>
                  </a:lnTo>
                  <a:lnTo>
                    <a:pt x="600" y="97"/>
                  </a:lnTo>
                  <a:lnTo>
                    <a:pt x="623" y="122"/>
                  </a:lnTo>
                  <a:lnTo>
                    <a:pt x="642" y="151"/>
                  </a:lnTo>
                  <a:lnTo>
                    <a:pt x="655" y="182"/>
                  </a:lnTo>
                  <a:lnTo>
                    <a:pt x="665" y="214"/>
                  </a:lnTo>
                  <a:lnTo>
                    <a:pt x="667" y="248"/>
                  </a:lnTo>
                  <a:lnTo>
                    <a:pt x="667" y="271"/>
                  </a:lnTo>
                  <a:lnTo>
                    <a:pt x="459" y="271"/>
                  </a:lnTo>
                  <a:lnTo>
                    <a:pt x="459" y="255"/>
                  </a:lnTo>
                  <a:lnTo>
                    <a:pt x="455" y="235"/>
                  </a:lnTo>
                  <a:lnTo>
                    <a:pt x="447" y="218"/>
                  </a:lnTo>
                  <a:lnTo>
                    <a:pt x="434" y="203"/>
                  </a:lnTo>
                  <a:lnTo>
                    <a:pt x="417" y="190"/>
                  </a:lnTo>
                  <a:lnTo>
                    <a:pt x="396" y="181"/>
                  </a:lnTo>
                  <a:lnTo>
                    <a:pt x="373" y="174"/>
                  </a:lnTo>
                  <a:lnTo>
                    <a:pt x="347" y="172"/>
                  </a:lnTo>
                  <a:lnTo>
                    <a:pt x="333" y="173"/>
                  </a:lnTo>
                  <a:lnTo>
                    <a:pt x="311" y="174"/>
                  </a:lnTo>
                  <a:lnTo>
                    <a:pt x="290" y="178"/>
                  </a:lnTo>
                  <a:lnTo>
                    <a:pt x="271" y="186"/>
                  </a:lnTo>
                  <a:lnTo>
                    <a:pt x="257" y="195"/>
                  </a:lnTo>
                  <a:lnTo>
                    <a:pt x="245" y="205"/>
                  </a:lnTo>
                  <a:lnTo>
                    <a:pt x="237" y="217"/>
                  </a:lnTo>
                  <a:lnTo>
                    <a:pt x="235" y="230"/>
                  </a:lnTo>
                  <a:lnTo>
                    <a:pt x="235" y="239"/>
                  </a:lnTo>
                  <a:lnTo>
                    <a:pt x="238" y="256"/>
                  </a:lnTo>
                  <a:lnTo>
                    <a:pt x="248" y="271"/>
                  </a:lnTo>
                  <a:lnTo>
                    <a:pt x="263" y="284"/>
                  </a:lnTo>
                  <a:lnTo>
                    <a:pt x="284" y="295"/>
                  </a:lnTo>
                  <a:lnTo>
                    <a:pt x="301" y="302"/>
                  </a:lnTo>
                  <a:lnTo>
                    <a:pt x="318" y="309"/>
                  </a:lnTo>
                  <a:lnTo>
                    <a:pt x="332" y="313"/>
                  </a:lnTo>
                  <a:lnTo>
                    <a:pt x="349" y="318"/>
                  </a:lnTo>
                  <a:lnTo>
                    <a:pt x="367" y="324"/>
                  </a:lnTo>
                  <a:lnTo>
                    <a:pt x="388" y="329"/>
                  </a:lnTo>
                  <a:lnTo>
                    <a:pt x="408" y="334"/>
                  </a:lnTo>
                  <a:lnTo>
                    <a:pt x="425" y="340"/>
                  </a:lnTo>
                  <a:lnTo>
                    <a:pt x="444" y="346"/>
                  </a:lnTo>
                  <a:lnTo>
                    <a:pt x="465" y="353"/>
                  </a:lnTo>
                  <a:lnTo>
                    <a:pt x="480" y="359"/>
                  </a:lnTo>
                  <a:lnTo>
                    <a:pt x="498" y="365"/>
                  </a:lnTo>
                  <a:lnTo>
                    <a:pt x="514" y="372"/>
                  </a:lnTo>
                  <a:lnTo>
                    <a:pt x="530" y="379"/>
                  </a:lnTo>
                  <a:lnTo>
                    <a:pt x="544" y="384"/>
                  </a:lnTo>
                  <a:lnTo>
                    <a:pt x="556" y="389"/>
                  </a:lnTo>
                  <a:lnTo>
                    <a:pt x="563" y="391"/>
                  </a:lnTo>
                  <a:lnTo>
                    <a:pt x="566" y="394"/>
                  </a:lnTo>
                  <a:lnTo>
                    <a:pt x="594" y="409"/>
                  </a:lnTo>
                  <a:lnTo>
                    <a:pt x="620" y="429"/>
                  </a:lnTo>
                  <a:lnTo>
                    <a:pt x="643" y="453"/>
                  </a:lnTo>
                  <a:lnTo>
                    <a:pt x="662" y="479"/>
                  </a:lnTo>
                  <a:lnTo>
                    <a:pt x="676" y="508"/>
                  </a:lnTo>
                  <a:lnTo>
                    <a:pt x="685" y="537"/>
                  </a:lnTo>
                  <a:lnTo>
                    <a:pt x="688" y="567"/>
                  </a:lnTo>
                  <a:lnTo>
                    <a:pt x="688" y="608"/>
                  </a:lnTo>
                  <a:lnTo>
                    <a:pt x="684" y="646"/>
                  </a:lnTo>
                  <a:lnTo>
                    <a:pt x="675" y="682"/>
                  </a:lnTo>
                  <a:lnTo>
                    <a:pt x="661" y="714"/>
                  </a:lnTo>
                  <a:lnTo>
                    <a:pt x="643" y="744"/>
                  </a:lnTo>
                  <a:lnTo>
                    <a:pt x="620" y="771"/>
                  </a:lnTo>
                  <a:lnTo>
                    <a:pt x="593" y="794"/>
                  </a:lnTo>
                  <a:lnTo>
                    <a:pt x="562" y="814"/>
                  </a:lnTo>
                  <a:lnTo>
                    <a:pt x="527" y="831"/>
                  </a:lnTo>
                  <a:lnTo>
                    <a:pt x="488" y="844"/>
                  </a:lnTo>
                  <a:lnTo>
                    <a:pt x="443" y="854"/>
                  </a:lnTo>
                  <a:lnTo>
                    <a:pt x="396" y="859"/>
                  </a:lnTo>
                  <a:lnTo>
                    <a:pt x="345" y="862"/>
                  </a:lnTo>
                  <a:lnTo>
                    <a:pt x="293" y="859"/>
                  </a:lnTo>
                  <a:lnTo>
                    <a:pt x="246" y="854"/>
                  </a:lnTo>
                  <a:lnTo>
                    <a:pt x="203" y="844"/>
                  </a:lnTo>
                  <a:lnTo>
                    <a:pt x="165" y="831"/>
                  </a:lnTo>
                  <a:lnTo>
                    <a:pt x="130" y="815"/>
                  </a:lnTo>
                  <a:lnTo>
                    <a:pt x="99" y="795"/>
                  </a:lnTo>
                  <a:lnTo>
                    <a:pt x="73" y="772"/>
                  </a:lnTo>
                  <a:lnTo>
                    <a:pt x="51" y="745"/>
                  </a:lnTo>
                  <a:lnTo>
                    <a:pt x="32" y="715"/>
                  </a:lnTo>
                  <a:lnTo>
                    <a:pt x="19" y="683"/>
                  </a:lnTo>
                  <a:lnTo>
                    <a:pt x="8" y="646"/>
                  </a:lnTo>
                  <a:lnTo>
                    <a:pt x="2" y="608"/>
                  </a:lnTo>
                  <a:lnTo>
                    <a:pt x="0" y="566"/>
                  </a:lnTo>
                  <a:lnTo>
                    <a:pt x="208" y="566"/>
                  </a:lnTo>
                  <a:lnTo>
                    <a:pt x="211" y="594"/>
                  </a:lnTo>
                  <a:lnTo>
                    <a:pt x="219" y="620"/>
                  </a:lnTo>
                  <a:lnTo>
                    <a:pt x="232" y="643"/>
                  </a:lnTo>
                  <a:lnTo>
                    <a:pt x="248" y="664"/>
                  </a:lnTo>
                  <a:lnTo>
                    <a:pt x="268" y="681"/>
                  </a:lnTo>
                  <a:lnTo>
                    <a:pt x="292" y="693"/>
                  </a:lnTo>
                  <a:lnTo>
                    <a:pt x="317" y="701"/>
                  </a:lnTo>
                  <a:lnTo>
                    <a:pt x="344" y="703"/>
                  </a:lnTo>
                  <a:lnTo>
                    <a:pt x="372" y="702"/>
                  </a:lnTo>
                  <a:lnTo>
                    <a:pt x="396" y="697"/>
                  </a:lnTo>
                  <a:lnTo>
                    <a:pt x="420" y="689"/>
                  </a:lnTo>
                  <a:lnTo>
                    <a:pt x="440" y="679"/>
                  </a:lnTo>
                  <a:lnTo>
                    <a:pt x="457" y="666"/>
                  </a:lnTo>
                  <a:lnTo>
                    <a:pt x="469" y="651"/>
                  </a:lnTo>
                  <a:lnTo>
                    <a:pt x="477" y="635"/>
                  </a:lnTo>
                  <a:lnTo>
                    <a:pt x="480" y="616"/>
                  </a:lnTo>
                  <a:lnTo>
                    <a:pt x="479" y="604"/>
                  </a:lnTo>
                  <a:lnTo>
                    <a:pt x="475" y="592"/>
                  </a:lnTo>
                  <a:lnTo>
                    <a:pt x="469" y="579"/>
                  </a:lnTo>
                  <a:lnTo>
                    <a:pt x="460" y="567"/>
                  </a:lnTo>
                  <a:lnTo>
                    <a:pt x="445" y="556"/>
                  </a:lnTo>
                  <a:lnTo>
                    <a:pt x="426" y="546"/>
                  </a:lnTo>
                  <a:lnTo>
                    <a:pt x="403" y="539"/>
                  </a:lnTo>
                  <a:lnTo>
                    <a:pt x="401" y="538"/>
                  </a:lnTo>
                  <a:lnTo>
                    <a:pt x="393" y="536"/>
                  </a:lnTo>
                  <a:lnTo>
                    <a:pt x="383" y="532"/>
                  </a:lnTo>
                  <a:lnTo>
                    <a:pt x="371" y="528"/>
                  </a:lnTo>
                  <a:lnTo>
                    <a:pt x="356" y="524"/>
                  </a:lnTo>
                  <a:lnTo>
                    <a:pt x="342" y="519"/>
                  </a:lnTo>
                  <a:lnTo>
                    <a:pt x="329" y="515"/>
                  </a:lnTo>
                  <a:lnTo>
                    <a:pt x="305" y="509"/>
                  </a:lnTo>
                  <a:lnTo>
                    <a:pt x="285" y="503"/>
                  </a:lnTo>
                  <a:lnTo>
                    <a:pt x="265" y="498"/>
                  </a:lnTo>
                  <a:lnTo>
                    <a:pt x="244" y="491"/>
                  </a:lnTo>
                  <a:lnTo>
                    <a:pt x="220" y="484"/>
                  </a:lnTo>
                  <a:lnTo>
                    <a:pt x="203" y="476"/>
                  </a:lnTo>
                  <a:lnTo>
                    <a:pt x="186" y="470"/>
                  </a:lnTo>
                  <a:lnTo>
                    <a:pt x="171" y="464"/>
                  </a:lnTo>
                  <a:lnTo>
                    <a:pt x="152" y="455"/>
                  </a:lnTo>
                  <a:lnTo>
                    <a:pt x="118" y="433"/>
                  </a:lnTo>
                  <a:lnTo>
                    <a:pt x="89" y="409"/>
                  </a:lnTo>
                  <a:lnTo>
                    <a:pt x="66" y="382"/>
                  </a:lnTo>
                  <a:lnTo>
                    <a:pt x="48" y="351"/>
                  </a:lnTo>
                  <a:lnTo>
                    <a:pt x="34" y="318"/>
                  </a:lnTo>
                  <a:lnTo>
                    <a:pt x="28" y="284"/>
                  </a:lnTo>
                  <a:lnTo>
                    <a:pt x="27" y="248"/>
                  </a:lnTo>
                  <a:lnTo>
                    <a:pt x="28" y="213"/>
                  </a:lnTo>
                  <a:lnTo>
                    <a:pt x="35" y="181"/>
                  </a:lnTo>
                  <a:lnTo>
                    <a:pt x="49" y="149"/>
                  </a:lnTo>
                  <a:lnTo>
                    <a:pt x="67" y="121"/>
                  </a:lnTo>
                  <a:lnTo>
                    <a:pt x="90" y="94"/>
                  </a:lnTo>
                  <a:lnTo>
                    <a:pt x="118" y="71"/>
                  </a:lnTo>
                  <a:lnTo>
                    <a:pt x="149" y="50"/>
                  </a:lnTo>
                  <a:lnTo>
                    <a:pt x="183" y="33"/>
                  </a:lnTo>
                  <a:lnTo>
                    <a:pt x="222" y="19"/>
                  </a:lnTo>
                  <a:lnTo>
                    <a:pt x="261" y="8"/>
                  </a:lnTo>
                  <a:lnTo>
                    <a:pt x="303" y="2"/>
                  </a:lnTo>
                  <a:lnTo>
                    <a:pt x="34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1977322" y="6509589"/>
            <a:ext cx="592612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1000">
                <a:solidFill>
                  <a:srgbClr val="73879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tabLst>
                <a:tab pos="1257300" algn="l"/>
                <a:tab pos="2689225" algn="l"/>
              </a:tabLst>
            </a:pPr>
            <a:r>
              <a:rPr lang="en-US" smtClean="0"/>
              <a:t>/ Präsentationstitel / Unternehmensbereich</a:t>
            </a:r>
            <a:endParaRPr lang="en-US" dirty="0" smtClean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930708" y="6509589"/>
            <a:ext cx="100286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US" sz="1000" smtClean="0">
                <a:solidFill>
                  <a:srgbClr val="73879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tabLst>
                <a:tab pos="1257300" algn="l"/>
                <a:tab pos="2689225" algn="l"/>
              </a:tabLst>
            </a:pPr>
            <a:r>
              <a:rPr lang="de-DE" smtClean="0"/>
              <a:t>Datum</a:t>
            </a:r>
            <a:endParaRPr lang="de-DE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350838" y="6509589"/>
            <a:ext cx="548754" cy="15977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de-DE" sz="1000" kern="1200" smtClean="0">
                <a:solidFill>
                  <a:srgbClr val="73879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D5ECB39-EFE3-45BA-A65C-33A20752AD82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tags r:id="rId17"/>
    </p:custDataLst>
    <p:extLst>
      <p:ext uri="{BB962C8B-B14F-4D97-AF65-F5344CB8AC3E}">
        <p14:creationId xmlns:p14="http://schemas.microsoft.com/office/powerpoint/2010/main" val="3160672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4" r:id="rId2"/>
    <p:sldLayoutId id="2147483723" r:id="rId3"/>
    <p:sldLayoutId id="2147483745" r:id="rId4"/>
    <p:sldLayoutId id="2147483743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</p:sldLayoutIdLst>
  <p:timing>
    <p:tnLst>
      <p:par>
        <p:cTn id="1" dur="indefinite" restart="never" nodeType="tmRoot"/>
      </p:par>
    </p:tnLst>
  </p:timing>
  <p:hf hdr="0"/>
  <p:txStyles>
    <p:titleStyle>
      <a:lvl1pPr marL="0" indent="0" algn="l" defTabSz="914400" rtl="0" eaLnBrk="1" latinLnBrk="0" hangingPunct="1">
        <a:spcBef>
          <a:spcPct val="0"/>
        </a:spcBef>
        <a:buNone/>
        <a:defRPr lang="de-DE" sz="2400" kern="1200" baseline="0" dirty="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7800" indent="-177800" algn="l" defTabSz="914400" rtl="0" eaLnBrk="1" latinLnBrk="0" hangingPunct="1">
        <a:spcBef>
          <a:spcPts val="600"/>
        </a:spcBef>
        <a:buClr>
          <a:schemeClr val="tx2"/>
        </a:buClr>
        <a:buSzPct val="140000"/>
        <a:buFont typeface="Wingdings 3" pitchFamily="18" charset="2"/>
        <a:buChar char="ê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914400" rtl="0" eaLnBrk="1" latinLnBrk="0" hangingPunct="1">
        <a:spcBef>
          <a:spcPts val="600"/>
        </a:spcBef>
        <a:buClr>
          <a:schemeClr val="tx2"/>
        </a:buClr>
        <a:buSzPct val="140000"/>
        <a:buFont typeface="Wingdings 3" pitchFamily="18" charset="2"/>
        <a:buChar char="ê"/>
        <a:tabLst>
          <a:tab pos="361950" algn="l"/>
        </a:tabLst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4988" indent="-173038" algn="l" defTabSz="914400" rtl="0" eaLnBrk="1" latinLnBrk="0" hangingPunct="1">
        <a:spcBef>
          <a:spcPts val="600"/>
        </a:spcBef>
        <a:buClr>
          <a:schemeClr val="tx2"/>
        </a:buClr>
        <a:buSzPct val="140000"/>
        <a:buFont typeface="Wingdings 3" pitchFamily="18" charset="2"/>
        <a:buChar char="ê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5963" indent="-180975" algn="l" defTabSz="914400" rtl="0" eaLnBrk="1" latinLnBrk="0" hangingPunct="1">
        <a:spcBef>
          <a:spcPts val="600"/>
        </a:spcBef>
        <a:buClr>
          <a:schemeClr val="tx2"/>
        </a:buClr>
        <a:buSzPct val="140000"/>
        <a:buFont typeface="Wingdings 3" pitchFamily="18" charset="2"/>
        <a:buChar char="ê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96938" indent="-180975" algn="l" defTabSz="914400" rtl="0" eaLnBrk="1" latinLnBrk="0" hangingPunct="1">
        <a:spcBef>
          <a:spcPts val="600"/>
        </a:spcBef>
        <a:buClr>
          <a:schemeClr val="tx2"/>
        </a:buClr>
        <a:buSzPct val="140000"/>
        <a:buFont typeface="Wingdings 3" pitchFamily="18" charset="2"/>
        <a:buChar char="ê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6.bin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7.bin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1.xml"/><Relationship Id="rId7" Type="http://schemas.openxmlformats.org/officeDocument/2006/relationships/oleObject" Target="../embeddings/oleObject8.bin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9.bin"/><Relationship Id="rId2" Type="http://schemas.openxmlformats.org/officeDocument/2006/relationships/tags" Target="../tags/tag33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7499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Bildplatzhalter 35"/>
          <p:cNvPicPr>
            <a:picLocks noGrp="1" noChangeAspect="1"/>
          </p:cNvPicPr>
          <p:nvPr>
            <p:ph type="pic" sz="quarter" idx="10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rojektpräsentation	</a:t>
            </a:r>
            <a:br>
              <a:rPr lang="de-DE" dirty="0" smtClean="0"/>
            </a:br>
            <a:r>
              <a:rPr lang="de-DE" dirty="0" smtClean="0"/>
              <a:t>M-Wetter</a:t>
            </a:r>
            <a:endParaRPr lang="de-DE" b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Tobias </a:t>
            </a:r>
            <a:r>
              <a:rPr lang="de-DE" dirty="0" err="1" smtClean="0"/>
              <a:t>Gilnhammer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14.07.2017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 bwMode="auto">
          <a:xfrm>
            <a:off x="350838" y="3303588"/>
            <a:ext cx="749300" cy="373063"/>
          </a:xfrm>
          <a:prstGeom prst="rect">
            <a:avLst/>
          </a:prstGeom>
          <a:solidFill>
            <a:srgbClr val="7387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anchor="ctr"/>
          <a:lstStyle/>
          <a:p>
            <a:pPr algn="l">
              <a:defRPr/>
            </a:pPr>
            <a:r>
              <a:rPr lang="de-DE" sz="800" b="1" i="0" dirty="0" smtClean="0">
                <a:latin typeface="Arial" pitchFamily="34" charset="0"/>
                <a:cs typeface="Arial" pitchFamily="34" charset="0"/>
              </a:rPr>
              <a:t>SWM intern</a:t>
            </a:r>
            <a:endParaRPr lang="de-DE" sz="800" b="1" i="0" dirty="0"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0" name="Rechteck 9"/>
          <p:cNvSpPr/>
          <p:nvPr/>
        </p:nvSpPr>
        <p:spPr>
          <a:xfrm>
            <a:off x="6653213" y="206375"/>
            <a:ext cx="2490787" cy="52387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 useBgFill="1">
        <p:nvSpPr>
          <p:cNvPr id="46" name="Rectangle 33"/>
          <p:cNvSpPr>
            <a:spLocks noChangeArrowheads="1"/>
          </p:cNvSpPr>
          <p:nvPr/>
        </p:nvSpPr>
        <p:spPr bwMode="auto">
          <a:xfrm>
            <a:off x="3174" y="5911777"/>
            <a:ext cx="4817181" cy="553297"/>
          </a:xfrm>
          <a:prstGeom prst="rect">
            <a:avLst/>
          </a:prstGeom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47" name="Gruppieren 46"/>
          <p:cNvGrpSpPr/>
          <p:nvPr/>
        </p:nvGrpSpPr>
        <p:grpSpPr>
          <a:xfrm>
            <a:off x="347258" y="6137391"/>
            <a:ext cx="4134323" cy="122129"/>
            <a:chOff x="347258" y="6137391"/>
            <a:chExt cx="4134323" cy="122129"/>
          </a:xfrm>
        </p:grpSpPr>
        <p:sp>
          <p:nvSpPr>
            <p:cNvPr id="48" name="Freeform 34"/>
            <p:cNvSpPr>
              <a:spLocks noEditPoints="1"/>
            </p:cNvSpPr>
            <p:nvPr userDrawn="1"/>
          </p:nvSpPr>
          <p:spPr bwMode="auto">
            <a:xfrm>
              <a:off x="347258" y="6142701"/>
              <a:ext cx="563916" cy="91331"/>
            </a:xfrm>
            <a:custGeom>
              <a:avLst/>
              <a:gdLst>
                <a:gd name="T0" fmla="*/ 295 w 531"/>
                <a:gd name="T1" fmla="*/ 69 h 86"/>
                <a:gd name="T2" fmla="*/ 307 w 531"/>
                <a:gd name="T3" fmla="*/ 80 h 86"/>
                <a:gd name="T4" fmla="*/ 323 w 531"/>
                <a:gd name="T5" fmla="*/ 69 h 86"/>
                <a:gd name="T6" fmla="*/ 325 w 531"/>
                <a:gd name="T7" fmla="*/ 54 h 86"/>
                <a:gd name="T8" fmla="*/ 451 w 531"/>
                <a:gd name="T9" fmla="*/ 35 h 86"/>
                <a:gd name="T10" fmla="*/ 480 w 531"/>
                <a:gd name="T11" fmla="*/ 46 h 86"/>
                <a:gd name="T12" fmla="*/ 469 w 531"/>
                <a:gd name="T13" fmla="*/ 29 h 86"/>
                <a:gd name="T14" fmla="*/ 531 w 531"/>
                <a:gd name="T15" fmla="*/ 31 h 86"/>
                <a:gd name="T16" fmla="*/ 512 w 531"/>
                <a:gd name="T17" fmla="*/ 46 h 86"/>
                <a:gd name="T18" fmla="*/ 503 w 531"/>
                <a:gd name="T19" fmla="*/ 33 h 86"/>
                <a:gd name="T20" fmla="*/ 510 w 531"/>
                <a:gd name="T21" fmla="*/ 35 h 86"/>
                <a:gd name="T22" fmla="*/ 521 w 531"/>
                <a:gd name="T23" fmla="*/ 22 h 86"/>
                <a:gd name="T24" fmla="*/ 487 w 531"/>
                <a:gd name="T25" fmla="*/ 40 h 86"/>
                <a:gd name="T26" fmla="*/ 453 w 531"/>
                <a:gd name="T27" fmla="*/ 73 h 86"/>
                <a:gd name="T28" fmla="*/ 480 w 531"/>
                <a:gd name="T29" fmla="*/ 76 h 86"/>
                <a:gd name="T30" fmla="*/ 466 w 531"/>
                <a:gd name="T31" fmla="*/ 86 h 86"/>
                <a:gd name="T32" fmla="*/ 440 w 531"/>
                <a:gd name="T33" fmla="*/ 42 h 86"/>
                <a:gd name="T34" fmla="*/ 417 w 531"/>
                <a:gd name="T35" fmla="*/ 22 h 86"/>
                <a:gd name="T36" fmla="*/ 418 w 531"/>
                <a:gd name="T37" fmla="*/ 29 h 86"/>
                <a:gd name="T38" fmla="*/ 400 w 531"/>
                <a:gd name="T39" fmla="*/ 35 h 86"/>
                <a:gd name="T40" fmla="*/ 422 w 531"/>
                <a:gd name="T41" fmla="*/ 54 h 86"/>
                <a:gd name="T42" fmla="*/ 425 w 531"/>
                <a:gd name="T43" fmla="*/ 81 h 86"/>
                <a:gd name="T44" fmla="*/ 403 w 531"/>
                <a:gd name="T45" fmla="*/ 86 h 86"/>
                <a:gd name="T46" fmla="*/ 403 w 531"/>
                <a:gd name="T47" fmla="*/ 79 h 86"/>
                <a:gd name="T48" fmla="*/ 421 w 531"/>
                <a:gd name="T49" fmla="*/ 72 h 86"/>
                <a:gd name="T50" fmla="*/ 400 w 531"/>
                <a:gd name="T51" fmla="*/ 51 h 86"/>
                <a:gd name="T52" fmla="*/ 398 w 531"/>
                <a:gd name="T53" fmla="*/ 28 h 86"/>
                <a:gd name="T54" fmla="*/ 366 w 531"/>
                <a:gd name="T55" fmla="*/ 22 h 86"/>
                <a:gd name="T56" fmla="*/ 376 w 531"/>
                <a:gd name="T57" fmla="*/ 31 h 86"/>
                <a:gd name="T58" fmla="*/ 356 w 531"/>
                <a:gd name="T59" fmla="*/ 32 h 86"/>
                <a:gd name="T60" fmla="*/ 369 w 531"/>
                <a:gd name="T61" fmla="*/ 50 h 86"/>
                <a:gd name="T62" fmla="*/ 381 w 531"/>
                <a:gd name="T63" fmla="*/ 77 h 86"/>
                <a:gd name="T64" fmla="*/ 362 w 531"/>
                <a:gd name="T65" fmla="*/ 86 h 86"/>
                <a:gd name="T66" fmla="*/ 351 w 531"/>
                <a:gd name="T67" fmla="*/ 77 h 86"/>
                <a:gd name="T68" fmla="*/ 373 w 531"/>
                <a:gd name="T69" fmla="*/ 76 h 86"/>
                <a:gd name="T70" fmla="*/ 361 w 531"/>
                <a:gd name="T71" fmla="*/ 55 h 86"/>
                <a:gd name="T72" fmla="*/ 348 w 531"/>
                <a:gd name="T73" fmla="*/ 31 h 86"/>
                <a:gd name="T74" fmla="*/ 366 w 531"/>
                <a:gd name="T75" fmla="*/ 22 h 86"/>
                <a:gd name="T76" fmla="*/ 333 w 531"/>
                <a:gd name="T77" fmla="*/ 72 h 86"/>
                <a:gd name="T78" fmla="*/ 326 w 531"/>
                <a:gd name="T79" fmla="*/ 75 h 86"/>
                <a:gd name="T80" fmla="*/ 307 w 531"/>
                <a:gd name="T81" fmla="*/ 86 h 86"/>
                <a:gd name="T82" fmla="*/ 289 w 531"/>
                <a:gd name="T83" fmla="*/ 76 h 86"/>
                <a:gd name="T84" fmla="*/ 296 w 531"/>
                <a:gd name="T85" fmla="*/ 53 h 86"/>
                <a:gd name="T86" fmla="*/ 325 w 531"/>
                <a:gd name="T87" fmla="*/ 44 h 86"/>
                <a:gd name="T88" fmla="*/ 317 w 531"/>
                <a:gd name="T89" fmla="*/ 29 h 86"/>
                <a:gd name="T90" fmla="*/ 293 w 531"/>
                <a:gd name="T91" fmla="*/ 26 h 86"/>
                <a:gd name="T92" fmla="*/ 175 w 531"/>
                <a:gd name="T93" fmla="*/ 2 h 86"/>
                <a:gd name="T94" fmla="*/ 235 w 531"/>
                <a:gd name="T95" fmla="*/ 2 h 86"/>
                <a:gd name="T96" fmla="*/ 262 w 531"/>
                <a:gd name="T97" fmla="*/ 84 h 86"/>
                <a:gd name="T98" fmla="*/ 198 w 531"/>
                <a:gd name="T99" fmla="*/ 84 h 86"/>
                <a:gd name="T100" fmla="*/ 75 w 531"/>
                <a:gd name="T101" fmla="*/ 2 h 86"/>
                <a:gd name="T102" fmla="*/ 77 w 531"/>
                <a:gd name="T103" fmla="*/ 10 h 86"/>
                <a:gd name="T104" fmla="*/ 9 w 531"/>
                <a:gd name="T105" fmla="*/ 84 h 86"/>
                <a:gd name="T106" fmla="*/ 116 w 531"/>
                <a:gd name="T10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1" h="86">
                  <a:moveTo>
                    <a:pt x="323" y="54"/>
                  </a:moveTo>
                  <a:lnTo>
                    <a:pt x="314" y="54"/>
                  </a:lnTo>
                  <a:lnTo>
                    <a:pt x="304" y="57"/>
                  </a:lnTo>
                  <a:lnTo>
                    <a:pt x="297" y="61"/>
                  </a:lnTo>
                  <a:lnTo>
                    <a:pt x="295" y="69"/>
                  </a:lnTo>
                  <a:lnTo>
                    <a:pt x="296" y="73"/>
                  </a:lnTo>
                  <a:lnTo>
                    <a:pt x="297" y="76"/>
                  </a:lnTo>
                  <a:lnTo>
                    <a:pt x="300" y="77"/>
                  </a:lnTo>
                  <a:lnTo>
                    <a:pt x="304" y="79"/>
                  </a:lnTo>
                  <a:lnTo>
                    <a:pt x="307" y="80"/>
                  </a:lnTo>
                  <a:lnTo>
                    <a:pt x="312" y="79"/>
                  </a:lnTo>
                  <a:lnTo>
                    <a:pt x="317" y="77"/>
                  </a:lnTo>
                  <a:lnTo>
                    <a:pt x="319" y="75"/>
                  </a:lnTo>
                  <a:lnTo>
                    <a:pt x="322" y="72"/>
                  </a:lnTo>
                  <a:lnTo>
                    <a:pt x="323" y="69"/>
                  </a:lnTo>
                  <a:lnTo>
                    <a:pt x="325" y="66"/>
                  </a:lnTo>
                  <a:lnTo>
                    <a:pt x="325" y="64"/>
                  </a:lnTo>
                  <a:lnTo>
                    <a:pt x="325" y="59"/>
                  </a:lnTo>
                  <a:lnTo>
                    <a:pt x="325" y="58"/>
                  </a:lnTo>
                  <a:lnTo>
                    <a:pt x="325" y="54"/>
                  </a:lnTo>
                  <a:lnTo>
                    <a:pt x="323" y="54"/>
                  </a:lnTo>
                  <a:close/>
                  <a:moveTo>
                    <a:pt x="465" y="29"/>
                  </a:moveTo>
                  <a:lnTo>
                    <a:pt x="459" y="29"/>
                  </a:lnTo>
                  <a:lnTo>
                    <a:pt x="455" y="32"/>
                  </a:lnTo>
                  <a:lnTo>
                    <a:pt x="451" y="35"/>
                  </a:lnTo>
                  <a:lnTo>
                    <a:pt x="450" y="40"/>
                  </a:lnTo>
                  <a:lnTo>
                    <a:pt x="447" y="44"/>
                  </a:lnTo>
                  <a:lnTo>
                    <a:pt x="447" y="50"/>
                  </a:lnTo>
                  <a:lnTo>
                    <a:pt x="480" y="50"/>
                  </a:lnTo>
                  <a:lnTo>
                    <a:pt x="480" y="46"/>
                  </a:lnTo>
                  <a:lnTo>
                    <a:pt x="479" y="42"/>
                  </a:lnTo>
                  <a:lnTo>
                    <a:pt x="477" y="37"/>
                  </a:lnTo>
                  <a:lnTo>
                    <a:pt x="476" y="33"/>
                  </a:lnTo>
                  <a:lnTo>
                    <a:pt x="473" y="31"/>
                  </a:lnTo>
                  <a:lnTo>
                    <a:pt x="469" y="29"/>
                  </a:lnTo>
                  <a:lnTo>
                    <a:pt x="465" y="29"/>
                  </a:lnTo>
                  <a:close/>
                  <a:moveTo>
                    <a:pt x="525" y="22"/>
                  </a:moveTo>
                  <a:lnTo>
                    <a:pt x="528" y="22"/>
                  </a:lnTo>
                  <a:lnTo>
                    <a:pt x="531" y="22"/>
                  </a:lnTo>
                  <a:lnTo>
                    <a:pt x="531" y="31"/>
                  </a:lnTo>
                  <a:lnTo>
                    <a:pt x="528" y="31"/>
                  </a:lnTo>
                  <a:lnTo>
                    <a:pt x="525" y="31"/>
                  </a:lnTo>
                  <a:lnTo>
                    <a:pt x="519" y="32"/>
                  </a:lnTo>
                  <a:lnTo>
                    <a:pt x="513" y="39"/>
                  </a:lnTo>
                  <a:lnTo>
                    <a:pt x="512" y="46"/>
                  </a:lnTo>
                  <a:lnTo>
                    <a:pt x="510" y="54"/>
                  </a:lnTo>
                  <a:lnTo>
                    <a:pt x="510" y="84"/>
                  </a:lnTo>
                  <a:lnTo>
                    <a:pt x="503" y="84"/>
                  </a:lnTo>
                  <a:lnTo>
                    <a:pt x="503" y="37"/>
                  </a:lnTo>
                  <a:lnTo>
                    <a:pt x="503" y="33"/>
                  </a:lnTo>
                  <a:lnTo>
                    <a:pt x="503" y="29"/>
                  </a:lnTo>
                  <a:lnTo>
                    <a:pt x="502" y="26"/>
                  </a:lnTo>
                  <a:lnTo>
                    <a:pt x="502" y="24"/>
                  </a:lnTo>
                  <a:lnTo>
                    <a:pt x="510" y="24"/>
                  </a:lnTo>
                  <a:lnTo>
                    <a:pt x="510" y="35"/>
                  </a:lnTo>
                  <a:lnTo>
                    <a:pt x="510" y="35"/>
                  </a:lnTo>
                  <a:lnTo>
                    <a:pt x="512" y="32"/>
                  </a:lnTo>
                  <a:lnTo>
                    <a:pt x="514" y="28"/>
                  </a:lnTo>
                  <a:lnTo>
                    <a:pt x="517" y="25"/>
                  </a:lnTo>
                  <a:lnTo>
                    <a:pt x="521" y="22"/>
                  </a:lnTo>
                  <a:lnTo>
                    <a:pt x="525" y="22"/>
                  </a:lnTo>
                  <a:close/>
                  <a:moveTo>
                    <a:pt x="465" y="22"/>
                  </a:moveTo>
                  <a:lnTo>
                    <a:pt x="476" y="25"/>
                  </a:lnTo>
                  <a:lnTo>
                    <a:pt x="483" y="31"/>
                  </a:lnTo>
                  <a:lnTo>
                    <a:pt x="487" y="40"/>
                  </a:lnTo>
                  <a:lnTo>
                    <a:pt x="488" y="53"/>
                  </a:lnTo>
                  <a:lnTo>
                    <a:pt x="488" y="57"/>
                  </a:lnTo>
                  <a:lnTo>
                    <a:pt x="447" y="57"/>
                  </a:lnTo>
                  <a:lnTo>
                    <a:pt x="448" y="65"/>
                  </a:lnTo>
                  <a:lnTo>
                    <a:pt x="453" y="73"/>
                  </a:lnTo>
                  <a:lnTo>
                    <a:pt x="458" y="77"/>
                  </a:lnTo>
                  <a:lnTo>
                    <a:pt x="468" y="80"/>
                  </a:lnTo>
                  <a:lnTo>
                    <a:pt x="472" y="79"/>
                  </a:lnTo>
                  <a:lnTo>
                    <a:pt x="476" y="77"/>
                  </a:lnTo>
                  <a:lnTo>
                    <a:pt x="480" y="76"/>
                  </a:lnTo>
                  <a:lnTo>
                    <a:pt x="484" y="75"/>
                  </a:lnTo>
                  <a:lnTo>
                    <a:pt x="484" y="83"/>
                  </a:lnTo>
                  <a:lnTo>
                    <a:pt x="479" y="84"/>
                  </a:lnTo>
                  <a:lnTo>
                    <a:pt x="472" y="86"/>
                  </a:lnTo>
                  <a:lnTo>
                    <a:pt x="466" y="86"/>
                  </a:lnTo>
                  <a:lnTo>
                    <a:pt x="454" y="83"/>
                  </a:lnTo>
                  <a:lnTo>
                    <a:pt x="446" y="77"/>
                  </a:lnTo>
                  <a:lnTo>
                    <a:pt x="440" y="66"/>
                  </a:lnTo>
                  <a:lnTo>
                    <a:pt x="439" y="54"/>
                  </a:lnTo>
                  <a:lnTo>
                    <a:pt x="440" y="42"/>
                  </a:lnTo>
                  <a:lnTo>
                    <a:pt x="446" y="31"/>
                  </a:lnTo>
                  <a:lnTo>
                    <a:pt x="454" y="25"/>
                  </a:lnTo>
                  <a:lnTo>
                    <a:pt x="465" y="22"/>
                  </a:lnTo>
                  <a:close/>
                  <a:moveTo>
                    <a:pt x="413" y="22"/>
                  </a:moveTo>
                  <a:lnTo>
                    <a:pt x="417" y="22"/>
                  </a:lnTo>
                  <a:lnTo>
                    <a:pt x="422" y="24"/>
                  </a:lnTo>
                  <a:lnTo>
                    <a:pt x="428" y="25"/>
                  </a:lnTo>
                  <a:lnTo>
                    <a:pt x="427" y="32"/>
                  </a:lnTo>
                  <a:lnTo>
                    <a:pt x="422" y="31"/>
                  </a:lnTo>
                  <a:lnTo>
                    <a:pt x="418" y="29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6" y="31"/>
                  </a:lnTo>
                  <a:lnTo>
                    <a:pt x="402" y="32"/>
                  </a:lnTo>
                  <a:lnTo>
                    <a:pt x="400" y="35"/>
                  </a:lnTo>
                  <a:lnTo>
                    <a:pt x="400" y="39"/>
                  </a:lnTo>
                  <a:lnTo>
                    <a:pt x="402" y="43"/>
                  </a:lnTo>
                  <a:lnTo>
                    <a:pt x="407" y="47"/>
                  </a:lnTo>
                  <a:lnTo>
                    <a:pt x="416" y="50"/>
                  </a:lnTo>
                  <a:lnTo>
                    <a:pt x="422" y="54"/>
                  </a:lnTo>
                  <a:lnTo>
                    <a:pt x="428" y="61"/>
                  </a:lnTo>
                  <a:lnTo>
                    <a:pt x="429" y="69"/>
                  </a:lnTo>
                  <a:lnTo>
                    <a:pt x="429" y="73"/>
                  </a:lnTo>
                  <a:lnTo>
                    <a:pt x="428" y="77"/>
                  </a:lnTo>
                  <a:lnTo>
                    <a:pt x="425" y="81"/>
                  </a:lnTo>
                  <a:lnTo>
                    <a:pt x="421" y="83"/>
                  </a:lnTo>
                  <a:lnTo>
                    <a:pt x="417" y="84"/>
                  </a:lnTo>
                  <a:lnTo>
                    <a:pt x="413" y="86"/>
                  </a:lnTo>
                  <a:lnTo>
                    <a:pt x="409" y="86"/>
                  </a:lnTo>
                  <a:lnTo>
                    <a:pt x="403" y="86"/>
                  </a:lnTo>
                  <a:lnTo>
                    <a:pt x="398" y="84"/>
                  </a:lnTo>
                  <a:lnTo>
                    <a:pt x="392" y="83"/>
                  </a:lnTo>
                  <a:lnTo>
                    <a:pt x="392" y="76"/>
                  </a:lnTo>
                  <a:lnTo>
                    <a:pt x="398" y="77"/>
                  </a:lnTo>
                  <a:lnTo>
                    <a:pt x="403" y="79"/>
                  </a:lnTo>
                  <a:lnTo>
                    <a:pt x="409" y="80"/>
                  </a:lnTo>
                  <a:lnTo>
                    <a:pt x="413" y="79"/>
                  </a:lnTo>
                  <a:lnTo>
                    <a:pt x="416" y="77"/>
                  </a:lnTo>
                  <a:lnTo>
                    <a:pt x="420" y="76"/>
                  </a:lnTo>
                  <a:lnTo>
                    <a:pt x="421" y="72"/>
                  </a:lnTo>
                  <a:lnTo>
                    <a:pt x="422" y="69"/>
                  </a:lnTo>
                  <a:lnTo>
                    <a:pt x="420" y="62"/>
                  </a:lnTo>
                  <a:lnTo>
                    <a:pt x="414" y="58"/>
                  </a:lnTo>
                  <a:lnTo>
                    <a:pt x="407" y="55"/>
                  </a:lnTo>
                  <a:lnTo>
                    <a:pt x="400" y="51"/>
                  </a:lnTo>
                  <a:lnTo>
                    <a:pt x="395" y="46"/>
                  </a:lnTo>
                  <a:lnTo>
                    <a:pt x="392" y="39"/>
                  </a:lnTo>
                  <a:lnTo>
                    <a:pt x="394" y="35"/>
                  </a:lnTo>
                  <a:lnTo>
                    <a:pt x="395" y="31"/>
                  </a:lnTo>
                  <a:lnTo>
                    <a:pt x="398" y="28"/>
                  </a:lnTo>
                  <a:lnTo>
                    <a:pt x="400" y="25"/>
                  </a:lnTo>
                  <a:lnTo>
                    <a:pt x="405" y="24"/>
                  </a:lnTo>
                  <a:lnTo>
                    <a:pt x="409" y="22"/>
                  </a:lnTo>
                  <a:lnTo>
                    <a:pt x="413" y="22"/>
                  </a:lnTo>
                  <a:close/>
                  <a:moveTo>
                    <a:pt x="366" y="22"/>
                  </a:moveTo>
                  <a:lnTo>
                    <a:pt x="370" y="22"/>
                  </a:lnTo>
                  <a:lnTo>
                    <a:pt x="376" y="24"/>
                  </a:lnTo>
                  <a:lnTo>
                    <a:pt x="381" y="25"/>
                  </a:lnTo>
                  <a:lnTo>
                    <a:pt x="380" y="32"/>
                  </a:lnTo>
                  <a:lnTo>
                    <a:pt x="376" y="31"/>
                  </a:lnTo>
                  <a:lnTo>
                    <a:pt x="372" y="29"/>
                  </a:lnTo>
                  <a:lnTo>
                    <a:pt x="367" y="29"/>
                  </a:lnTo>
                  <a:lnTo>
                    <a:pt x="362" y="29"/>
                  </a:lnTo>
                  <a:lnTo>
                    <a:pt x="359" y="31"/>
                  </a:lnTo>
                  <a:lnTo>
                    <a:pt x="356" y="32"/>
                  </a:lnTo>
                  <a:lnTo>
                    <a:pt x="355" y="35"/>
                  </a:lnTo>
                  <a:lnTo>
                    <a:pt x="354" y="39"/>
                  </a:lnTo>
                  <a:lnTo>
                    <a:pt x="356" y="43"/>
                  </a:lnTo>
                  <a:lnTo>
                    <a:pt x="362" y="47"/>
                  </a:lnTo>
                  <a:lnTo>
                    <a:pt x="369" y="50"/>
                  </a:lnTo>
                  <a:lnTo>
                    <a:pt x="376" y="54"/>
                  </a:lnTo>
                  <a:lnTo>
                    <a:pt x="381" y="61"/>
                  </a:lnTo>
                  <a:lnTo>
                    <a:pt x="384" y="69"/>
                  </a:lnTo>
                  <a:lnTo>
                    <a:pt x="383" y="73"/>
                  </a:lnTo>
                  <a:lnTo>
                    <a:pt x="381" y="77"/>
                  </a:lnTo>
                  <a:lnTo>
                    <a:pt x="378" y="81"/>
                  </a:lnTo>
                  <a:lnTo>
                    <a:pt x="374" y="83"/>
                  </a:lnTo>
                  <a:lnTo>
                    <a:pt x="370" y="84"/>
                  </a:lnTo>
                  <a:lnTo>
                    <a:pt x="366" y="86"/>
                  </a:lnTo>
                  <a:lnTo>
                    <a:pt x="362" y="86"/>
                  </a:lnTo>
                  <a:lnTo>
                    <a:pt x="356" y="86"/>
                  </a:lnTo>
                  <a:lnTo>
                    <a:pt x="351" y="84"/>
                  </a:lnTo>
                  <a:lnTo>
                    <a:pt x="345" y="83"/>
                  </a:lnTo>
                  <a:lnTo>
                    <a:pt x="347" y="76"/>
                  </a:lnTo>
                  <a:lnTo>
                    <a:pt x="351" y="77"/>
                  </a:lnTo>
                  <a:lnTo>
                    <a:pt x="356" y="79"/>
                  </a:lnTo>
                  <a:lnTo>
                    <a:pt x="362" y="80"/>
                  </a:lnTo>
                  <a:lnTo>
                    <a:pt x="366" y="79"/>
                  </a:lnTo>
                  <a:lnTo>
                    <a:pt x="370" y="77"/>
                  </a:lnTo>
                  <a:lnTo>
                    <a:pt x="373" y="76"/>
                  </a:lnTo>
                  <a:lnTo>
                    <a:pt x="374" y="72"/>
                  </a:lnTo>
                  <a:lnTo>
                    <a:pt x="376" y="69"/>
                  </a:lnTo>
                  <a:lnTo>
                    <a:pt x="373" y="62"/>
                  </a:lnTo>
                  <a:lnTo>
                    <a:pt x="367" y="58"/>
                  </a:lnTo>
                  <a:lnTo>
                    <a:pt x="361" y="55"/>
                  </a:lnTo>
                  <a:lnTo>
                    <a:pt x="354" y="51"/>
                  </a:lnTo>
                  <a:lnTo>
                    <a:pt x="348" y="46"/>
                  </a:lnTo>
                  <a:lnTo>
                    <a:pt x="347" y="39"/>
                  </a:lnTo>
                  <a:lnTo>
                    <a:pt x="347" y="35"/>
                  </a:lnTo>
                  <a:lnTo>
                    <a:pt x="348" y="31"/>
                  </a:lnTo>
                  <a:lnTo>
                    <a:pt x="351" y="28"/>
                  </a:lnTo>
                  <a:lnTo>
                    <a:pt x="354" y="25"/>
                  </a:lnTo>
                  <a:lnTo>
                    <a:pt x="358" y="24"/>
                  </a:lnTo>
                  <a:lnTo>
                    <a:pt x="362" y="22"/>
                  </a:lnTo>
                  <a:lnTo>
                    <a:pt x="366" y="22"/>
                  </a:lnTo>
                  <a:close/>
                  <a:moveTo>
                    <a:pt x="311" y="22"/>
                  </a:moveTo>
                  <a:lnTo>
                    <a:pt x="323" y="25"/>
                  </a:lnTo>
                  <a:lnTo>
                    <a:pt x="330" y="32"/>
                  </a:lnTo>
                  <a:lnTo>
                    <a:pt x="333" y="44"/>
                  </a:lnTo>
                  <a:lnTo>
                    <a:pt x="333" y="72"/>
                  </a:lnTo>
                  <a:lnTo>
                    <a:pt x="333" y="79"/>
                  </a:lnTo>
                  <a:lnTo>
                    <a:pt x="333" y="84"/>
                  </a:lnTo>
                  <a:lnTo>
                    <a:pt x="326" y="84"/>
                  </a:lnTo>
                  <a:lnTo>
                    <a:pt x="326" y="75"/>
                  </a:lnTo>
                  <a:lnTo>
                    <a:pt x="326" y="75"/>
                  </a:lnTo>
                  <a:lnTo>
                    <a:pt x="323" y="79"/>
                  </a:lnTo>
                  <a:lnTo>
                    <a:pt x="319" y="81"/>
                  </a:lnTo>
                  <a:lnTo>
                    <a:pt x="315" y="84"/>
                  </a:lnTo>
                  <a:lnTo>
                    <a:pt x="311" y="86"/>
                  </a:lnTo>
                  <a:lnTo>
                    <a:pt x="307" y="86"/>
                  </a:lnTo>
                  <a:lnTo>
                    <a:pt x="301" y="86"/>
                  </a:lnTo>
                  <a:lnTo>
                    <a:pt x="296" y="84"/>
                  </a:lnTo>
                  <a:lnTo>
                    <a:pt x="293" y="81"/>
                  </a:lnTo>
                  <a:lnTo>
                    <a:pt x="290" y="79"/>
                  </a:lnTo>
                  <a:lnTo>
                    <a:pt x="289" y="76"/>
                  </a:lnTo>
                  <a:lnTo>
                    <a:pt x="288" y="73"/>
                  </a:lnTo>
                  <a:lnTo>
                    <a:pt x="286" y="70"/>
                  </a:lnTo>
                  <a:lnTo>
                    <a:pt x="286" y="69"/>
                  </a:lnTo>
                  <a:lnTo>
                    <a:pt x="289" y="58"/>
                  </a:lnTo>
                  <a:lnTo>
                    <a:pt x="296" y="53"/>
                  </a:lnTo>
                  <a:lnTo>
                    <a:pt x="304" y="48"/>
                  </a:lnTo>
                  <a:lnTo>
                    <a:pt x="314" y="47"/>
                  </a:lnTo>
                  <a:lnTo>
                    <a:pt x="323" y="47"/>
                  </a:lnTo>
                  <a:lnTo>
                    <a:pt x="325" y="47"/>
                  </a:lnTo>
                  <a:lnTo>
                    <a:pt x="325" y="44"/>
                  </a:lnTo>
                  <a:lnTo>
                    <a:pt x="325" y="40"/>
                  </a:lnTo>
                  <a:lnTo>
                    <a:pt x="325" y="35"/>
                  </a:lnTo>
                  <a:lnTo>
                    <a:pt x="322" y="32"/>
                  </a:lnTo>
                  <a:lnTo>
                    <a:pt x="319" y="31"/>
                  </a:lnTo>
                  <a:lnTo>
                    <a:pt x="317" y="29"/>
                  </a:lnTo>
                  <a:lnTo>
                    <a:pt x="311" y="29"/>
                  </a:lnTo>
                  <a:lnTo>
                    <a:pt x="306" y="29"/>
                  </a:lnTo>
                  <a:lnTo>
                    <a:pt x="300" y="31"/>
                  </a:lnTo>
                  <a:lnTo>
                    <a:pt x="293" y="33"/>
                  </a:lnTo>
                  <a:lnTo>
                    <a:pt x="293" y="26"/>
                  </a:lnTo>
                  <a:lnTo>
                    <a:pt x="297" y="25"/>
                  </a:lnTo>
                  <a:lnTo>
                    <a:pt x="303" y="24"/>
                  </a:lnTo>
                  <a:lnTo>
                    <a:pt x="307" y="22"/>
                  </a:lnTo>
                  <a:lnTo>
                    <a:pt x="311" y="22"/>
                  </a:lnTo>
                  <a:close/>
                  <a:moveTo>
                    <a:pt x="175" y="2"/>
                  </a:moveTo>
                  <a:lnTo>
                    <a:pt x="183" y="2"/>
                  </a:lnTo>
                  <a:lnTo>
                    <a:pt x="204" y="75"/>
                  </a:lnTo>
                  <a:lnTo>
                    <a:pt x="204" y="75"/>
                  </a:lnTo>
                  <a:lnTo>
                    <a:pt x="226" y="2"/>
                  </a:lnTo>
                  <a:lnTo>
                    <a:pt x="235" y="2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78" y="2"/>
                  </a:lnTo>
                  <a:lnTo>
                    <a:pt x="285" y="2"/>
                  </a:lnTo>
                  <a:lnTo>
                    <a:pt x="262" y="84"/>
                  </a:lnTo>
                  <a:lnTo>
                    <a:pt x="252" y="84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09" y="84"/>
                  </a:lnTo>
                  <a:lnTo>
                    <a:pt x="198" y="84"/>
                  </a:lnTo>
                  <a:lnTo>
                    <a:pt x="175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35"/>
            <p:cNvSpPr>
              <a:spLocks noEditPoints="1"/>
            </p:cNvSpPr>
            <p:nvPr userDrawn="1"/>
          </p:nvSpPr>
          <p:spPr bwMode="auto">
            <a:xfrm>
              <a:off x="1090650" y="6137391"/>
              <a:ext cx="490639" cy="96641"/>
            </a:xfrm>
            <a:custGeom>
              <a:avLst/>
              <a:gdLst>
                <a:gd name="T0" fmla="*/ 252 w 462"/>
                <a:gd name="T1" fmla="*/ 74 h 91"/>
                <a:gd name="T2" fmla="*/ 264 w 462"/>
                <a:gd name="T3" fmla="*/ 85 h 91"/>
                <a:gd name="T4" fmla="*/ 280 w 462"/>
                <a:gd name="T5" fmla="*/ 74 h 91"/>
                <a:gd name="T6" fmla="*/ 283 w 462"/>
                <a:gd name="T7" fmla="*/ 59 h 91"/>
                <a:gd name="T8" fmla="*/ 208 w 462"/>
                <a:gd name="T9" fmla="*/ 81 h 91"/>
                <a:gd name="T10" fmla="*/ 214 w 462"/>
                <a:gd name="T11" fmla="*/ 52 h 91"/>
                <a:gd name="T12" fmla="*/ 390 w 462"/>
                <a:gd name="T13" fmla="*/ 34 h 91"/>
                <a:gd name="T14" fmla="*/ 378 w 462"/>
                <a:gd name="T15" fmla="*/ 55 h 91"/>
                <a:gd name="T16" fmla="*/ 407 w 462"/>
                <a:gd name="T17" fmla="*/ 38 h 91"/>
                <a:gd name="T18" fmla="*/ 322 w 462"/>
                <a:gd name="T19" fmla="*/ 36 h 91"/>
                <a:gd name="T20" fmla="*/ 316 w 462"/>
                <a:gd name="T21" fmla="*/ 77 h 91"/>
                <a:gd name="T22" fmla="*/ 348 w 462"/>
                <a:gd name="T23" fmla="*/ 67 h 91"/>
                <a:gd name="T24" fmla="*/ 330 w 462"/>
                <a:gd name="T25" fmla="*/ 34 h 91"/>
                <a:gd name="T26" fmla="*/ 459 w 462"/>
                <a:gd name="T27" fmla="*/ 36 h 91"/>
                <a:gd name="T28" fmla="*/ 441 w 462"/>
                <a:gd name="T29" fmla="*/ 59 h 91"/>
                <a:gd name="T30" fmla="*/ 433 w 462"/>
                <a:gd name="T31" fmla="*/ 34 h 91"/>
                <a:gd name="T32" fmla="*/ 441 w 462"/>
                <a:gd name="T33" fmla="*/ 40 h 91"/>
                <a:gd name="T34" fmla="*/ 456 w 462"/>
                <a:gd name="T35" fmla="*/ 27 h 91"/>
                <a:gd name="T36" fmla="*/ 419 w 462"/>
                <a:gd name="T37" fmla="*/ 58 h 91"/>
                <a:gd name="T38" fmla="*/ 389 w 462"/>
                <a:gd name="T39" fmla="*/ 82 h 91"/>
                <a:gd name="T40" fmla="*/ 415 w 462"/>
                <a:gd name="T41" fmla="*/ 80 h 91"/>
                <a:gd name="T42" fmla="*/ 385 w 462"/>
                <a:gd name="T43" fmla="*/ 88 h 91"/>
                <a:gd name="T44" fmla="*/ 377 w 462"/>
                <a:gd name="T45" fmla="*/ 36 h 91"/>
                <a:gd name="T46" fmla="*/ 287 w 462"/>
                <a:gd name="T47" fmla="*/ 37 h 91"/>
                <a:gd name="T48" fmla="*/ 283 w 462"/>
                <a:gd name="T49" fmla="*/ 89 h 91"/>
                <a:gd name="T50" fmla="*/ 272 w 462"/>
                <a:gd name="T51" fmla="*/ 89 h 91"/>
                <a:gd name="T52" fmla="*/ 250 w 462"/>
                <a:gd name="T53" fmla="*/ 86 h 91"/>
                <a:gd name="T54" fmla="*/ 243 w 462"/>
                <a:gd name="T55" fmla="*/ 74 h 91"/>
                <a:gd name="T56" fmla="*/ 280 w 462"/>
                <a:gd name="T57" fmla="*/ 52 h 91"/>
                <a:gd name="T58" fmla="*/ 279 w 462"/>
                <a:gd name="T59" fmla="*/ 37 h 91"/>
                <a:gd name="T60" fmla="*/ 257 w 462"/>
                <a:gd name="T61" fmla="*/ 36 h 91"/>
                <a:gd name="T62" fmla="*/ 264 w 462"/>
                <a:gd name="T63" fmla="*/ 27 h 91"/>
                <a:gd name="T64" fmla="*/ 203 w 462"/>
                <a:gd name="T65" fmla="*/ 42 h 91"/>
                <a:gd name="T66" fmla="*/ 219 w 462"/>
                <a:gd name="T67" fmla="*/ 36 h 91"/>
                <a:gd name="T68" fmla="*/ 216 w 462"/>
                <a:gd name="T69" fmla="*/ 16 h 91"/>
                <a:gd name="T70" fmla="*/ 191 w 462"/>
                <a:gd name="T71" fmla="*/ 14 h 91"/>
                <a:gd name="T72" fmla="*/ 275 w 462"/>
                <a:gd name="T73" fmla="*/ 8 h 91"/>
                <a:gd name="T74" fmla="*/ 254 w 462"/>
                <a:gd name="T75" fmla="*/ 8 h 91"/>
                <a:gd name="T76" fmla="*/ 227 w 462"/>
                <a:gd name="T77" fmla="*/ 16 h 91"/>
                <a:gd name="T78" fmla="*/ 219 w 462"/>
                <a:gd name="T79" fmla="*/ 44 h 91"/>
                <a:gd name="T80" fmla="*/ 228 w 462"/>
                <a:gd name="T81" fmla="*/ 55 h 91"/>
                <a:gd name="T82" fmla="*/ 212 w 462"/>
                <a:gd name="T83" fmla="*/ 88 h 91"/>
                <a:gd name="T84" fmla="*/ 12 w 462"/>
                <a:gd name="T85" fmla="*/ 7 h 91"/>
                <a:gd name="T86" fmla="*/ 77 w 462"/>
                <a:gd name="T87" fmla="*/ 89 h 91"/>
                <a:gd name="T88" fmla="*/ 8 w 462"/>
                <a:gd name="T89" fmla="*/ 15 h 91"/>
                <a:gd name="T90" fmla="*/ 154 w 462"/>
                <a:gd name="T91" fmla="*/ 5 h 91"/>
                <a:gd name="T92" fmla="*/ 348 w 462"/>
                <a:gd name="T93" fmla="*/ 0 h 91"/>
                <a:gd name="T94" fmla="*/ 348 w 462"/>
                <a:gd name="T95" fmla="*/ 80 h 91"/>
                <a:gd name="T96" fmla="*/ 319 w 462"/>
                <a:gd name="T97" fmla="*/ 88 h 91"/>
                <a:gd name="T98" fmla="*/ 311 w 462"/>
                <a:gd name="T99" fmla="*/ 36 h 91"/>
                <a:gd name="T100" fmla="*/ 342 w 462"/>
                <a:gd name="T101" fmla="*/ 31 h 91"/>
                <a:gd name="T102" fmla="*/ 348 w 462"/>
                <a:gd name="T10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62" h="91">
                  <a:moveTo>
                    <a:pt x="280" y="59"/>
                  </a:moveTo>
                  <a:lnTo>
                    <a:pt x="271" y="59"/>
                  </a:lnTo>
                  <a:lnTo>
                    <a:pt x="261" y="62"/>
                  </a:lnTo>
                  <a:lnTo>
                    <a:pt x="254" y="66"/>
                  </a:lnTo>
                  <a:lnTo>
                    <a:pt x="252" y="74"/>
                  </a:lnTo>
                  <a:lnTo>
                    <a:pt x="253" y="78"/>
                  </a:lnTo>
                  <a:lnTo>
                    <a:pt x="254" y="81"/>
                  </a:lnTo>
                  <a:lnTo>
                    <a:pt x="257" y="82"/>
                  </a:lnTo>
                  <a:lnTo>
                    <a:pt x="261" y="84"/>
                  </a:lnTo>
                  <a:lnTo>
                    <a:pt x="264" y="85"/>
                  </a:lnTo>
                  <a:lnTo>
                    <a:pt x="269" y="84"/>
                  </a:lnTo>
                  <a:lnTo>
                    <a:pt x="274" y="82"/>
                  </a:lnTo>
                  <a:lnTo>
                    <a:pt x="278" y="80"/>
                  </a:lnTo>
                  <a:lnTo>
                    <a:pt x="279" y="77"/>
                  </a:lnTo>
                  <a:lnTo>
                    <a:pt x="280" y="74"/>
                  </a:lnTo>
                  <a:lnTo>
                    <a:pt x="282" y="71"/>
                  </a:lnTo>
                  <a:lnTo>
                    <a:pt x="282" y="69"/>
                  </a:lnTo>
                  <a:lnTo>
                    <a:pt x="282" y="64"/>
                  </a:lnTo>
                  <a:lnTo>
                    <a:pt x="283" y="63"/>
                  </a:lnTo>
                  <a:lnTo>
                    <a:pt x="283" y="59"/>
                  </a:lnTo>
                  <a:lnTo>
                    <a:pt x="280" y="59"/>
                  </a:lnTo>
                  <a:close/>
                  <a:moveTo>
                    <a:pt x="191" y="49"/>
                  </a:moveTo>
                  <a:lnTo>
                    <a:pt x="191" y="82"/>
                  </a:lnTo>
                  <a:lnTo>
                    <a:pt x="199" y="82"/>
                  </a:lnTo>
                  <a:lnTo>
                    <a:pt x="208" y="81"/>
                  </a:lnTo>
                  <a:lnTo>
                    <a:pt x="214" y="80"/>
                  </a:lnTo>
                  <a:lnTo>
                    <a:pt x="220" y="74"/>
                  </a:lnTo>
                  <a:lnTo>
                    <a:pt x="223" y="66"/>
                  </a:lnTo>
                  <a:lnTo>
                    <a:pt x="220" y="58"/>
                  </a:lnTo>
                  <a:lnTo>
                    <a:pt x="214" y="52"/>
                  </a:lnTo>
                  <a:lnTo>
                    <a:pt x="206" y="51"/>
                  </a:lnTo>
                  <a:lnTo>
                    <a:pt x="198" y="49"/>
                  </a:lnTo>
                  <a:lnTo>
                    <a:pt x="191" y="49"/>
                  </a:lnTo>
                  <a:close/>
                  <a:moveTo>
                    <a:pt x="396" y="34"/>
                  </a:moveTo>
                  <a:lnTo>
                    <a:pt x="390" y="34"/>
                  </a:lnTo>
                  <a:lnTo>
                    <a:pt x="386" y="37"/>
                  </a:lnTo>
                  <a:lnTo>
                    <a:pt x="382" y="40"/>
                  </a:lnTo>
                  <a:lnTo>
                    <a:pt x="379" y="45"/>
                  </a:lnTo>
                  <a:lnTo>
                    <a:pt x="378" y="49"/>
                  </a:lnTo>
                  <a:lnTo>
                    <a:pt x="378" y="55"/>
                  </a:lnTo>
                  <a:lnTo>
                    <a:pt x="411" y="55"/>
                  </a:lnTo>
                  <a:lnTo>
                    <a:pt x="411" y="51"/>
                  </a:lnTo>
                  <a:lnTo>
                    <a:pt x="410" y="47"/>
                  </a:lnTo>
                  <a:lnTo>
                    <a:pt x="408" y="42"/>
                  </a:lnTo>
                  <a:lnTo>
                    <a:pt x="407" y="38"/>
                  </a:lnTo>
                  <a:lnTo>
                    <a:pt x="404" y="36"/>
                  </a:lnTo>
                  <a:lnTo>
                    <a:pt x="400" y="34"/>
                  </a:lnTo>
                  <a:lnTo>
                    <a:pt x="396" y="34"/>
                  </a:lnTo>
                  <a:close/>
                  <a:moveTo>
                    <a:pt x="330" y="34"/>
                  </a:moveTo>
                  <a:lnTo>
                    <a:pt x="322" y="36"/>
                  </a:lnTo>
                  <a:lnTo>
                    <a:pt x="316" y="42"/>
                  </a:lnTo>
                  <a:lnTo>
                    <a:pt x="313" y="51"/>
                  </a:lnTo>
                  <a:lnTo>
                    <a:pt x="312" y="59"/>
                  </a:lnTo>
                  <a:lnTo>
                    <a:pt x="313" y="69"/>
                  </a:lnTo>
                  <a:lnTo>
                    <a:pt x="316" y="77"/>
                  </a:lnTo>
                  <a:lnTo>
                    <a:pt x="322" y="82"/>
                  </a:lnTo>
                  <a:lnTo>
                    <a:pt x="330" y="85"/>
                  </a:lnTo>
                  <a:lnTo>
                    <a:pt x="340" y="82"/>
                  </a:lnTo>
                  <a:lnTo>
                    <a:pt x="345" y="75"/>
                  </a:lnTo>
                  <a:lnTo>
                    <a:pt x="348" y="67"/>
                  </a:lnTo>
                  <a:lnTo>
                    <a:pt x="348" y="59"/>
                  </a:lnTo>
                  <a:lnTo>
                    <a:pt x="348" y="51"/>
                  </a:lnTo>
                  <a:lnTo>
                    <a:pt x="345" y="42"/>
                  </a:lnTo>
                  <a:lnTo>
                    <a:pt x="340" y="36"/>
                  </a:lnTo>
                  <a:lnTo>
                    <a:pt x="330" y="34"/>
                  </a:lnTo>
                  <a:close/>
                  <a:moveTo>
                    <a:pt x="456" y="27"/>
                  </a:moveTo>
                  <a:lnTo>
                    <a:pt x="459" y="27"/>
                  </a:lnTo>
                  <a:lnTo>
                    <a:pt x="462" y="27"/>
                  </a:lnTo>
                  <a:lnTo>
                    <a:pt x="462" y="36"/>
                  </a:lnTo>
                  <a:lnTo>
                    <a:pt x="459" y="36"/>
                  </a:lnTo>
                  <a:lnTo>
                    <a:pt x="456" y="36"/>
                  </a:lnTo>
                  <a:lnTo>
                    <a:pt x="448" y="37"/>
                  </a:lnTo>
                  <a:lnTo>
                    <a:pt x="444" y="44"/>
                  </a:lnTo>
                  <a:lnTo>
                    <a:pt x="441" y="51"/>
                  </a:lnTo>
                  <a:lnTo>
                    <a:pt x="441" y="59"/>
                  </a:lnTo>
                  <a:lnTo>
                    <a:pt x="441" y="89"/>
                  </a:lnTo>
                  <a:lnTo>
                    <a:pt x="433" y="89"/>
                  </a:lnTo>
                  <a:lnTo>
                    <a:pt x="433" y="42"/>
                  </a:lnTo>
                  <a:lnTo>
                    <a:pt x="433" y="38"/>
                  </a:lnTo>
                  <a:lnTo>
                    <a:pt x="433" y="34"/>
                  </a:lnTo>
                  <a:lnTo>
                    <a:pt x="433" y="31"/>
                  </a:lnTo>
                  <a:lnTo>
                    <a:pt x="433" y="29"/>
                  </a:lnTo>
                  <a:lnTo>
                    <a:pt x="440" y="29"/>
                  </a:lnTo>
                  <a:lnTo>
                    <a:pt x="440" y="40"/>
                  </a:lnTo>
                  <a:lnTo>
                    <a:pt x="441" y="40"/>
                  </a:lnTo>
                  <a:lnTo>
                    <a:pt x="443" y="37"/>
                  </a:lnTo>
                  <a:lnTo>
                    <a:pt x="445" y="33"/>
                  </a:lnTo>
                  <a:lnTo>
                    <a:pt x="448" y="30"/>
                  </a:lnTo>
                  <a:lnTo>
                    <a:pt x="452" y="27"/>
                  </a:lnTo>
                  <a:lnTo>
                    <a:pt x="456" y="27"/>
                  </a:lnTo>
                  <a:close/>
                  <a:moveTo>
                    <a:pt x="395" y="27"/>
                  </a:moveTo>
                  <a:lnTo>
                    <a:pt x="406" y="30"/>
                  </a:lnTo>
                  <a:lnTo>
                    <a:pt x="414" y="36"/>
                  </a:lnTo>
                  <a:lnTo>
                    <a:pt x="418" y="45"/>
                  </a:lnTo>
                  <a:lnTo>
                    <a:pt x="419" y="58"/>
                  </a:lnTo>
                  <a:lnTo>
                    <a:pt x="419" y="62"/>
                  </a:lnTo>
                  <a:lnTo>
                    <a:pt x="378" y="62"/>
                  </a:lnTo>
                  <a:lnTo>
                    <a:pt x="379" y="70"/>
                  </a:lnTo>
                  <a:lnTo>
                    <a:pt x="382" y="78"/>
                  </a:lnTo>
                  <a:lnTo>
                    <a:pt x="389" y="82"/>
                  </a:lnTo>
                  <a:lnTo>
                    <a:pt x="397" y="85"/>
                  </a:lnTo>
                  <a:lnTo>
                    <a:pt x="403" y="84"/>
                  </a:lnTo>
                  <a:lnTo>
                    <a:pt x="407" y="82"/>
                  </a:lnTo>
                  <a:lnTo>
                    <a:pt x="411" y="81"/>
                  </a:lnTo>
                  <a:lnTo>
                    <a:pt x="415" y="80"/>
                  </a:lnTo>
                  <a:lnTo>
                    <a:pt x="415" y="88"/>
                  </a:lnTo>
                  <a:lnTo>
                    <a:pt x="410" y="89"/>
                  </a:lnTo>
                  <a:lnTo>
                    <a:pt x="403" y="91"/>
                  </a:lnTo>
                  <a:lnTo>
                    <a:pt x="397" y="91"/>
                  </a:lnTo>
                  <a:lnTo>
                    <a:pt x="385" y="88"/>
                  </a:lnTo>
                  <a:lnTo>
                    <a:pt x="375" y="82"/>
                  </a:lnTo>
                  <a:lnTo>
                    <a:pt x="371" y="71"/>
                  </a:lnTo>
                  <a:lnTo>
                    <a:pt x="370" y="59"/>
                  </a:lnTo>
                  <a:lnTo>
                    <a:pt x="371" y="47"/>
                  </a:lnTo>
                  <a:lnTo>
                    <a:pt x="377" y="36"/>
                  </a:lnTo>
                  <a:lnTo>
                    <a:pt x="385" y="30"/>
                  </a:lnTo>
                  <a:lnTo>
                    <a:pt x="395" y="27"/>
                  </a:lnTo>
                  <a:close/>
                  <a:moveTo>
                    <a:pt x="268" y="27"/>
                  </a:moveTo>
                  <a:lnTo>
                    <a:pt x="280" y="30"/>
                  </a:lnTo>
                  <a:lnTo>
                    <a:pt x="287" y="37"/>
                  </a:lnTo>
                  <a:lnTo>
                    <a:pt x="290" y="49"/>
                  </a:lnTo>
                  <a:lnTo>
                    <a:pt x="290" y="77"/>
                  </a:lnTo>
                  <a:lnTo>
                    <a:pt x="290" y="84"/>
                  </a:lnTo>
                  <a:lnTo>
                    <a:pt x="290" y="89"/>
                  </a:lnTo>
                  <a:lnTo>
                    <a:pt x="283" y="89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0" y="84"/>
                  </a:lnTo>
                  <a:lnTo>
                    <a:pt x="276" y="86"/>
                  </a:lnTo>
                  <a:lnTo>
                    <a:pt x="272" y="89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58" y="91"/>
                  </a:lnTo>
                  <a:lnTo>
                    <a:pt x="253" y="89"/>
                  </a:lnTo>
                  <a:lnTo>
                    <a:pt x="250" y="86"/>
                  </a:lnTo>
                  <a:lnTo>
                    <a:pt x="247" y="84"/>
                  </a:lnTo>
                  <a:lnTo>
                    <a:pt x="246" y="81"/>
                  </a:lnTo>
                  <a:lnTo>
                    <a:pt x="245" y="78"/>
                  </a:lnTo>
                  <a:lnTo>
                    <a:pt x="243" y="75"/>
                  </a:lnTo>
                  <a:lnTo>
                    <a:pt x="243" y="74"/>
                  </a:lnTo>
                  <a:lnTo>
                    <a:pt x="246" y="63"/>
                  </a:lnTo>
                  <a:lnTo>
                    <a:pt x="253" y="58"/>
                  </a:lnTo>
                  <a:lnTo>
                    <a:pt x="261" y="53"/>
                  </a:lnTo>
                  <a:lnTo>
                    <a:pt x="271" y="52"/>
                  </a:lnTo>
                  <a:lnTo>
                    <a:pt x="280" y="52"/>
                  </a:lnTo>
                  <a:lnTo>
                    <a:pt x="283" y="52"/>
                  </a:lnTo>
                  <a:lnTo>
                    <a:pt x="283" y="49"/>
                  </a:lnTo>
                  <a:lnTo>
                    <a:pt x="282" y="45"/>
                  </a:lnTo>
                  <a:lnTo>
                    <a:pt x="282" y="40"/>
                  </a:lnTo>
                  <a:lnTo>
                    <a:pt x="279" y="37"/>
                  </a:lnTo>
                  <a:lnTo>
                    <a:pt x="276" y="36"/>
                  </a:lnTo>
                  <a:lnTo>
                    <a:pt x="274" y="34"/>
                  </a:lnTo>
                  <a:lnTo>
                    <a:pt x="268" y="34"/>
                  </a:lnTo>
                  <a:lnTo>
                    <a:pt x="263" y="34"/>
                  </a:lnTo>
                  <a:lnTo>
                    <a:pt x="257" y="36"/>
                  </a:lnTo>
                  <a:lnTo>
                    <a:pt x="250" y="38"/>
                  </a:lnTo>
                  <a:lnTo>
                    <a:pt x="250" y="31"/>
                  </a:lnTo>
                  <a:lnTo>
                    <a:pt x="254" y="30"/>
                  </a:lnTo>
                  <a:lnTo>
                    <a:pt x="260" y="29"/>
                  </a:lnTo>
                  <a:lnTo>
                    <a:pt x="264" y="27"/>
                  </a:lnTo>
                  <a:lnTo>
                    <a:pt x="268" y="27"/>
                  </a:lnTo>
                  <a:close/>
                  <a:moveTo>
                    <a:pt x="191" y="14"/>
                  </a:moveTo>
                  <a:lnTo>
                    <a:pt x="191" y="42"/>
                  </a:lnTo>
                  <a:lnTo>
                    <a:pt x="199" y="42"/>
                  </a:lnTo>
                  <a:lnTo>
                    <a:pt x="203" y="42"/>
                  </a:lnTo>
                  <a:lnTo>
                    <a:pt x="206" y="42"/>
                  </a:lnTo>
                  <a:lnTo>
                    <a:pt x="210" y="41"/>
                  </a:lnTo>
                  <a:lnTo>
                    <a:pt x="213" y="40"/>
                  </a:lnTo>
                  <a:lnTo>
                    <a:pt x="216" y="38"/>
                  </a:lnTo>
                  <a:lnTo>
                    <a:pt x="219" y="36"/>
                  </a:lnTo>
                  <a:lnTo>
                    <a:pt x="220" y="31"/>
                  </a:lnTo>
                  <a:lnTo>
                    <a:pt x="220" y="27"/>
                  </a:lnTo>
                  <a:lnTo>
                    <a:pt x="220" y="23"/>
                  </a:lnTo>
                  <a:lnTo>
                    <a:pt x="217" y="19"/>
                  </a:lnTo>
                  <a:lnTo>
                    <a:pt x="216" y="16"/>
                  </a:lnTo>
                  <a:lnTo>
                    <a:pt x="212" y="15"/>
                  </a:lnTo>
                  <a:lnTo>
                    <a:pt x="209" y="14"/>
                  </a:lnTo>
                  <a:lnTo>
                    <a:pt x="205" y="14"/>
                  </a:lnTo>
                  <a:lnTo>
                    <a:pt x="202" y="14"/>
                  </a:lnTo>
                  <a:lnTo>
                    <a:pt x="191" y="14"/>
                  </a:lnTo>
                  <a:close/>
                  <a:moveTo>
                    <a:pt x="275" y="8"/>
                  </a:moveTo>
                  <a:lnTo>
                    <a:pt x="283" y="8"/>
                  </a:lnTo>
                  <a:lnTo>
                    <a:pt x="283" y="19"/>
                  </a:lnTo>
                  <a:lnTo>
                    <a:pt x="275" y="19"/>
                  </a:lnTo>
                  <a:lnTo>
                    <a:pt x="275" y="8"/>
                  </a:lnTo>
                  <a:close/>
                  <a:moveTo>
                    <a:pt x="254" y="8"/>
                  </a:moveTo>
                  <a:lnTo>
                    <a:pt x="263" y="8"/>
                  </a:lnTo>
                  <a:lnTo>
                    <a:pt x="263" y="19"/>
                  </a:lnTo>
                  <a:lnTo>
                    <a:pt x="254" y="19"/>
                  </a:lnTo>
                  <a:lnTo>
                    <a:pt x="254" y="8"/>
                  </a:lnTo>
                  <a:close/>
                  <a:moveTo>
                    <a:pt x="183" y="7"/>
                  </a:moveTo>
                  <a:lnTo>
                    <a:pt x="202" y="7"/>
                  </a:lnTo>
                  <a:lnTo>
                    <a:pt x="212" y="7"/>
                  </a:lnTo>
                  <a:lnTo>
                    <a:pt x="220" y="11"/>
                  </a:lnTo>
                  <a:lnTo>
                    <a:pt x="227" y="16"/>
                  </a:lnTo>
                  <a:lnTo>
                    <a:pt x="228" y="27"/>
                  </a:lnTo>
                  <a:lnTo>
                    <a:pt x="228" y="33"/>
                  </a:lnTo>
                  <a:lnTo>
                    <a:pt x="225" y="37"/>
                  </a:lnTo>
                  <a:lnTo>
                    <a:pt x="223" y="41"/>
                  </a:lnTo>
                  <a:lnTo>
                    <a:pt x="219" y="44"/>
                  </a:lnTo>
                  <a:lnTo>
                    <a:pt x="213" y="45"/>
                  </a:lnTo>
                  <a:lnTo>
                    <a:pt x="213" y="47"/>
                  </a:lnTo>
                  <a:lnTo>
                    <a:pt x="219" y="48"/>
                  </a:lnTo>
                  <a:lnTo>
                    <a:pt x="224" y="51"/>
                  </a:lnTo>
                  <a:lnTo>
                    <a:pt x="228" y="55"/>
                  </a:lnTo>
                  <a:lnTo>
                    <a:pt x="230" y="60"/>
                  </a:lnTo>
                  <a:lnTo>
                    <a:pt x="231" y="66"/>
                  </a:lnTo>
                  <a:lnTo>
                    <a:pt x="228" y="77"/>
                  </a:lnTo>
                  <a:lnTo>
                    <a:pt x="221" y="84"/>
                  </a:lnTo>
                  <a:lnTo>
                    <a:pt x="212" y="88"/>
                  </a:lnTo>
                  <a:lnTo>
                    <a:pt x="199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3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47" y="89"/>
                  </a:lnTo>
                  <a:lnTo>
                    <a:pt x="39" y="8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4" y="5"/>
                  </a:moveTo>
                  <a:lnTo>
                    <a:pt x="162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4" y="5"/>
                  </a:lnTo>
                  <a:close/>
                  <a:moveTo>
                    <a:pt x="348" y="0"/>
                  </a:moveTo>
                  <a:lnTo>
                    <a:pt x="356" y="0"/>
                  </a:lnTo>
                  <a:lnTo>
                    <a:pt x="356" y="89"/>
                  </a:lnTo>
                  <a:lnTo>
                    <a:pt x="348" y="89"/>
                  </a:lnTo>
                  <a:lnTo>
                    <a:pt x="348" y="80"/>
                  </a:lnTo>
                  <a:lnTo>
                    <a:pt x="348" y="80"/>
                  </a:lnTo>
                  <a:lnTo>
                    <a:pt x="345" y="85"/>
                  </a:lnTo>
                  <a:lnTo>
                    <a:pt x="341" y="88"/>
                  </a:lnTo>
                  <a:lnTo>
                    <a:pt x="335" y="91"/>
                  </a:lnTo>
                  <a:lnTo>
                    <a:pt x="330" y="91"/>
                  </a:lnTo>
                  <a:lnTo>
                    <a:pt x="319" y="88"/>
                  </a:lnTo>
                  <a:lnTo>
                    <a:pt x="311" y="82"/>
                  </a:lnTo>
                  <a:lnTo>
                    <a:pt x="307" y="71"/>
                  </a:lnTo>
                  <a:lnTo>
                    <a:pt x="304" y="59"/>
                  </a:lnTo>
                  <a:lnTo>
                    <a:pt x="305" y="47"/>
                  </a:lnTo>
                  <a:lnTo>
                    <a:pt x="311" y="36"/>
                  </a:lnTo>
                  <a:lnTo>
                    <a:pt x="318" y="30"/>
                  </a:lnTo>
                  <a:lnTo>
                    <a:pt x="330" y="27"/>
                  </a:lnTo>
                  <a:lnTo>
                    <a:pt x="335" y="27"/>
                  </a:lnTo>
                  <a:lnTo>
                    <a:pt x="340" y="30"/>
                  </a:lnTo>
                  <a:lnTo>
                    <a:pt x="342" y="31"/>
                  </a:lnTo>
                  <a:lnTo>
                    <a:pt x="345" y="34"/>
                  </a:lnTo>
                  <a:lnTo>
                    <a:pt x="348" y="37"/>
                  </a:lnTo>
                  <a:lnTo>
                    <a:pt x="348" y="38"/>
                  </a:lnTo>
                  <a:lnTo>
                    <a:pt x="348" y="38"/>
                  </a:lnTo>
                  <a:lnTo>
                    <a:pt x="3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36"/>
            <p:cNvSpPr>
              <a:spLocks noEditPoints="1"/>
            </p:cNvSpPr>
            <p:nvPr userDrawn="1"/>
          </p:nvSpPr>
          <p:spPr bwMode="auto">
            <a:xfrm>
              <a:off x="1759703" y="6142701"/>
              <a:ext cx="495949" cy="91331"/>
            </a:xfrm>
            <a:custGeom>
              <a:avLst/>
              <a:gdLst>
                <a:gd name="T0" fmla="*/ 324 w 467"/>
                <a:gd name="T1" fmla="*/ 44 h 86"/>
                <a:gd name="T2" fmla="*/ 335 w 467"/>
                <a:gd name="T3" fmla="*/ 77 h 86"/>
                <a:gd name="T4" fmla="*/ 362 w 467"/>
                <a:gd name="T5" fmla="*/ 64 h 86"/>
                <a:gd name="T6" fmla="*/ 351 w 467"/>
                <a:gd name="T7" fmla="*/ 31 h 86"/>
                <a:gd name="T8" fmla="*/ 417 w 467"/>
                <a:gd name="T9" fmla="*/ 24 h 86"/>
                <a:gd name="T10" fmla="*/ 427 w 467"/>
                <a:gd name="T11" fmla="*/ 35 h 86"/>
                <a:gd name="T12" fmla="*/ 437 w 467"/>
                <a:gd name="T13" fmla="*/ 25 h 86"/>
                <a:gd name="T14" fmla="*/ 457 w 467"/>
                <a:gd name="T15" fmla="*/ 25 h 86"/>
                <a:gd name="T16" fmla="*/ 467 w 467"/>
                <a:gd name="T17" fmla="*/ 43 h 86"/>
                <a:gd name="T18" fmla="*/ 459 w 467"/>
                <a:gd name="T19" fmla="*/ 40 h 86"/>
                <a:gd name="T20" fmla="*/ 450 w 467"/>
                <a:gd name="T21" fmla="*/ 29 h 86"/>
                <a:gd name="T22" fmla="*/ 430 w 467"/>
                <a:gd name="T23" fmla="*/ 51 h 86"/>
                <a:gd name="T24" fmla="*/ 422 w 467"/>
                <a:gd name="T25" fmla="*/ 40 h 86"/>
                <a:gd name="T26" fmla="*/ 413 w 467"/>
                <a:gd name="T27" fmla="*/ 29 h 86"/>
                <a:gd name="T28" fmla="*/ 393 w 467"/>
                <a:gd name="T29" fmla="*/ 51 h 86"/>
                <a:gd name="T30" fmla="*/ 386 w 467"/>
                <a:gd name="T31" fmla="*/ 31 h 86"/>
                <a:gd name="T32" fmla="*/ 393 w 467"/>
                <a:gd name="T33" fmla="*/ 35 h 86"/>
                <a:gd name="T34" fmla="*/ 400 w 467"/>
                <a:gd name="T35" fmla="*/ 25 h 86"/>
                <a:gd name="T36" fmla="*/ 343 w 467"/>
                <a:gd name="T37" fmla="*/ 22 h 86"/>
                <a:gd name="T38" fmla="*/ 372 w 467"/>
                <a:gd name="T39" fmla="*/ 54 h 86"/>
                <a:gd name="T40" fmla="*/ 343 w 467"/>
                <a:gd name="T41" fmla="*/ 86 h 86"/>
                <a:gd name="T42" fmla="*/ 314 w 467"/>
                <a:gd name="T43" fmla="*/ 54 h 86"/>
                <a:gd name="T44" fmla="*/ 343 w 467"/>
                <a:gd name="T45" fmla="*/ 22 h 86"/>
                <a:gd name="T46" fmla="*/ 310 w 467"/>
                <a:gd name="T47" fmla="*/ 31 h 86"/>
                <a:gd name="T48" fmla="*/ 292 w 467"/>
                <a:gd name="T49" fmla="*/ 39 h 86"/>
                <a:gd name="T50" fmla="*/ 281 w 467"/>
                <a:gd name="T51" fmla="*/ 84 h 86"/>
                <a:gd name="T52" fmla="*/ 281 w 467"/>
                <a:gd name="T53" fmla="*/ 26 h 86"/>
                <a:gd name="T54" fmla="*/ 290 w 467"/>
                <a:gd name="T55" fmla="*/ 35 h 86"/>
                <a:gd name="T56" fmla="*/ 301 w 467"/>
                <a:gd name="T57" fmla="*/ 22 h 86"/>
                <a:gd name="T58" fmla="*/ 269 w 467"/>
                <a:gd name="T59" fmla="*/ 24 h 86"/>
                <a:gd name="T60" fmla="*/ 255 w 467"/>
                <a:gd name="T61" fmla="*/ 73 h 86"/>
                <a:gd name="T62" fmla="*/ 263 w 467"/>
                <a:gd name="T63" fmla="*/ 80 h 86"/>
                <a:gd name="T64" fmla="*/ 268 w 467"/>
                <a:gd name="T65" fmla="*/ 86 h 86"/>
                <a:gd name="T66" fmla="*/ 252 w 467"/>
                <a:gd name="T67" fmla="*/ 84 h 86"/>
                <a:gd name="T68" fmla="*/ 247 w 467"/>
                <a:gd name="T69" fmla="*/ 70 h 86"/>
                <a:gd name="T70" fmla="*/ 236 w 467"/>
                <a:gd name="T71" fmla="*/ 24 h 86"/>
                <a:gd name="T72" fmla="*/ 0 w 467"/>
                <a:gd name="T73" fmla="*/ 2 h 86"/>
                <a:gd name="T74" fmla="*/ 86 w 467"/>
                <a:gd name="T75" fmla="*/ 2 h 86"/>
                <a:gd name="T76" fmla="*/ 77 w 467"/>
                <a:gd name="T77" fmla="*/ 10 h 86"/>
                <a:gd name="T78" fmla="*/ 8 w 467"/>
                <a:gd name="T79" fmla="*/ 10 h 86"/>
                <a:gd name="T80" fmla="*/ 207 w 467"/>
                <a:gd name="T81" fmla="*/ 0 h 86"/>
                <a:gd name="T82" fmla="*/ 222 w 467"/>
                <a:gd name="T83" fmla="*/ 10 h 86"/>
                <a:gd name="T84" fmla="*/ 203 w 467"/>
                <a:gd name="T85" fmla="*/ 7 h 86"/>
                <a:gd name="T86" fmla="*/ 191 w 467"/>
                <a:gd name="T87" fmla="*/ 14 h 86"/>
                <a:gd name="T88" fmla="*/ 199 w 467"/>
                <a:gd name="T89" fmla="*/ 33 h 86"/>
                <a:gd name="T90" fmla="*/ 226 w 467"/>
                <a:gd name="T91" fmla="*/ 62 h 86"/>
                <a:gd name="T92" fmla="*/ 199 w 467"/>
                <a:gd name="T93" fmla="*/ 86 h 86"/>
                <a:gd name="T94" fmla="*/ 181 w 467"/>
                <a:gd name="T95" fmla="*/ 73 h 86"/>
                <a:gd name="T96" fmla="*/ 204 w 467"/>
                <a:gd name="T97" fmla="*/ 79 h 86"/>
                <a:gd name="T98" fmla="*/ 218 w 467"/>
                <a:gd name="T99" fmla="*/ 68 h 86"/>
                <a:gd name="T100" fmla="*/ 199 w 467"/>
                <a:gd name="T101" fmla="*/ 44 h 86"/>
                <a:gd name="T102" fmla="*/ 182 w 467"/>
                <a:gd name="T103" fmla="*/ 13 h 86"/>
                <a:gd name="T104" fmla="*/ 154 w 467"/>
                <a:gd name="T105" fmla="*/ 0 h 86"/>
                <a:gd name="T106" fmla="*/ 154 w 467"/>
                <a:gd name="T10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67" h="86">
                  <a:moveTo>
                    <a:pt x="343" y="29"/>
                  </a:moveTo>
                  <a:lnTo>
                    <a:pt x="335" y="31"/>
                  </a:lnTo>
                  <a:lnTo>
                    <a:pt x="328" y="36"/>
                  </a:lnTo>
                  <a:lnTo>
                    <a:pt x="324" y="44"/>
                  </a:lnTo>
                  <a:lnTo>
                    <a:pt x="323" y="54"/>
                  </a:lnTo>
                  <a:lnTo>
                    <a:pt x="324" y="64"/>
                  </a:lnTo>
                  <a:lnTo>
                    <a:pt x="328" y="72"/>
                  </a:lnTo>
                  <a:lnTo>
                    <a:pt x="335" y="77"/>
                  </a:lnTo>
                  <a:lnTo>
                    <a:pt x="343" y="80"/>
                  </a:lnTo>
                  <a:lnTo>
                    <a:pt x="351" y="77"/>
                  </a:lnTo>
                  <a:lnTo>
                    <a:pt x="358" y="72"/>
                  </a:lnTo>
                  <a:lnTo>
                    <a:pt x="362" y="64"/>
                  </a:lnTo>
                  <a:lnTo>
                    <a:pt x="364" y="54"/>
                  </a:lnTo>
                  <a:lnTo>
                    <a:pt x="362" y="44"/>
                  </a:lnTo>
                  <a:lnTo>
                    <a:pt x="358" y="36"/>
                  </a:lnTo>
                  <a:lnTo>
                    <a:pt x="351" y="31"/>
                  </a:lnTo>
                  <a:lnTo>
                    <a:pt x="343" y="29"/>
                  </a:lnTo>
                  <a:close/>
                  <a:moveTo>
                    <a:pt x="412" y="22"/>
                  </a:moveTo>
                  <a:lnTo>
                    <a:pt x="415" y="22"/>
                  </a:lnTo>
                  <a:lnTo>
                    <a:pt x="417" y="24"/>
                  </a:lnTo>
                  <a:lnTo>
                    <a:pt x="422" y="25"/>
                  </a:lnTo>
                  <a:lnTo>
                    <a:pt x="424" y="26"/>
                  </a:lnTo>
                  <a:lnTo>
                    <a:pt x="426" y="31"/>
                  </a:lnTo>
                  <a:lnTo>
                    <a:pt x="427" y="35"/>
                  </a:lnTo>
                  <a:lnTo>
                    <a:pt x="428" y="35"/>
                  </a:lnTo>
                  <a:lnTo>
                    <a:pt x="430" y="31"/>
                  </a:lnTo>
                  <a:lnTo>
                    <a:pt x="433" y="28"/>
                  </a:lnTo>
                  <a:lnTo>
                    <a:pt x="437" y="25"/>
                  </a:lnTo>
                  <a:lnTo>
                    <a:pt x="442" y="22"/>
                  </a:lnTo>
                  <a:lnTo>
                    <a:pt x="448" y="22"/>
                  </a:lnTo>
                  <a:lnTo>
                    <a:pt x="453" y="22"/>
                  </a:lnTo>
                  <a:lnTo>
                    <a:pt x="457" y="25"/>
                  </a:lnTo>
                  <a:lnTo>
                    <a:pt x="461" y="28"/>
                  </a:lnTo>
                  <a:lnTo>
                    <a:pt x="464" y="32"/>
                  </a:lnTo>
                  <a:lnTo>
                    <a:pt x="466" y="37"/>
                  </a:lnTo>
                  <a:lnTo>
                    <a:pt x="467" y="43"/>
                  </a:lnTo>
                  <a:lnTo>
                    <a:pt x="467" y="84"/>
                  </a:lnTo>
                  <a:lnTo>
                    <a:pt x="459" y="84"/>
                  </a:lnTo>
                  <a:lnTo>
                    <a:pt x="459" y="44"/>
                  </a:lnTo>
                  <a:lnTo>
                    <a:pt x="459" y="40"/>
                  </a:lnTo>
                  <a:lnTo>
                    <a:pt x="457" y="36"/>
                  </a:lnTo>
                  <a:lnTo>
                    <a:pt x="456" y="33"/>
                  </a:lnTo>
                  <a:lnTo>
                    <a:pt x="453" y="31"/>
                  </a:lnTo>
                  <a:lnTo>
                    <a:pt x="450" y="29"/>
                  </a:lnTo>
                  <a:lnTo>
                    <a:pt x="446" y="29"/>
                  </a:lnTo>
                  <a:lnTo>
                    <a:pt x="438" y="31"/>
                  </a:lnTo>
                  <a:lnTo>
                    <a:pt x="433" y="39"/>
                  </a:lnTo>
                  <a:lnTo>
                    <a:pt x="430" y="51"/>
                  </a:lnTo>
                  <a:lnTo>
                    <a:pt x="430" y="84"/>
                  </a:lnTo>
                  <a:lnTo>
                    <a:pt x="423" y="84"/>
                  </a:lnTo>
                  <a:lnTo>
                    <a:pt x="423" y="44"/>
                  </a:lnTo>
                  <a:lnTo>
                    <a:pt x="422" y="40"/>
                  </a:lnTo>
                  <a:lnTo>
                    <a:pt x="422" y="36"/>
                  </a:lnTo>
                  <a:lnTo>
                    <a:pt x="420" y="33"/>
                  </a:lnTo>
                  <a:lnTo>
                    <a:pt x="417" y="31"/>
                  </a:lnTo>
                  <a:lnTo>
                    <a:pt x="413" y="29"/>
                  </a:lnTo>
                  <a:lnTo>
                    <a:pt x="409" y="29"/>
                  </a:lnTo>
                  <a:lnTo>
                    <a:pt x="401" y="31"/>
                  </a:lnTo>
                  <a:lnTo>
                    <a:pt x="395" y="39"/>
                  </a:lnTo>
                  <a:lnTo>
                    <a:pt x="393" y="51"/>
                  </a:lnTo>
                  <a:lnTo>
                    <a:pt x="393" y="84"/>
                  </a:lnTo>
                  <a:lnTo>
                    <a:pt x="386" y="84"/>
                  </a:lnTo>
                  <a:lnTo>
                    <a:pt x="386" y="37"/>
                  </a:lnTo>
                  <a:lnTo>
                    <a:pt x="386" y="31"/>
                  </a:lnTo>
                  <a:lnTo>
                    <a:pt x="386" y="24"/>
                  </a:lnTo>
                  <a:lnTo>
                    <a:pt x="393" y="24"/>
                  </a:lnTo>
                  <a:lnTo>
                    <a:pt x="393" y="33"/>
                  </a:lnTo>
                  <a:lnTo>
                    <a:pt x="393" y="35"/>
                  </a:lnTo>
                  <a:lnTo>
                    <a:pt x="394" y="32"/>
                  </a:lnTo>
                  <a:lnTo>
                    <a:pt x="395" y="31"/>
                  </a:lnTo>
                  <a:lnTo>
                    <a:pt x="397" y="28"/>
                  </a:lnTo>
                  <a:lnTo>
                    <a:pt x="400" y="25"/>
                  </a:lnTo>
                  <a:lnTo>
                    <a:pt x="402" y="24"/>
                  </a:lnTo>
                  <a:lnTo>
                    <a:pt x="406" y="22"/>
                  </a:lnTo>
                  <a:lnTo>
                    <a:pt x="412" y="22"/>
                  </a:lnTo>
                  <a:close/>
                  <a:moveTo>
                    <a:pt x="343" y="22"/>
                  </a:moveTo>
                  <a:lnTo>
                    <a:pt x="356" y="25"/>
                  </a:lnTo>
                  <a:lnTo>
                    <a:pt x="365" y="32"/>
                  </a:lnTo>
                  <a:lnTo>
                    <a:pt x="369" y="42"/>
                  </a:lnTo>
                  <a:lnTo>
                    <a:pt x="372" y="54"/>
                  </a:lnTo>
                  <a:lnTo>
                    <a:pt x="369" y="66"/>
                  </a:lnTo>
                  <a:lnTo>
                    <a:pt x="365" y="76"/>
                  </a:lnTo>
                  <a:lnTo>
                    <a:pt x="356" y="83"/>
                  </a:lnTo>
                  <a:lnTo>
                    <a:pt x="343" y="86"/>
                  </a:lnTo>
                  <a:lnTo>
                    <a:pt x="331" y="83"/>
                  </a:lnTo>
                  <a:lnTo>
                    <a:pt x="321" y="76"/>
                  </a:lnTo>
                  <a:lnTo>
                    <a:pt x="317" y="66"/>
                  </a:lnTo>
                  <a:lnTo>
                    <a:pt x="314" y="54"/>
                  </a:lnTo>
                  <a:lnTo>
                    <a:pt x="317" y="42"/>
                  </a:lnTo>
                  <a:lnTo>
                    <a:pt x="321" y="32"/>
                  </a:lnTo>
                  <a:lnTo>
                    <a:pt x="331" y="25"/>
                  </a:lnTo>
                  <a:lnTo>
                    <a:pt x="343" y="22"/>
                  </a:lnTo>
                  <a:close/>
                  <a:moveTo>
                    <a:pt x="305" y="22"/>
                  </a:moveTo>
                  <a:lnTo>
                    <a:pt x="307" y="22"/>
                  </a:lnTo>
                  <a:lnTo>
                    <a:pt x="310" y="22"/>
                  </a:lnTo>
                  <a:lnTo>
                    <a:pt x="310" y="31"/>
                  </a:lnTo>
                  <a:lnTo>
                    <a:pt x="307" y="31"/>
                  </a:lnTo>
                  <a:lnTo>
                    <a:pt x="305" y="31"/>
                  </a:lnTo>
                  <a:lnTo>
                    <a:pt x="298" y="32"/>
                  </a:lnTo>
                  <a:lnTo>
                    <a:pt x="292" y="39"/>
                  </a:lnTo>
                  <a:lnTo>
                    <a:pt x="290" y="46"/>
                  </a:lnTo>
                  <a:lnTo>
                    <a:pt x="290" y="54"/>
                  </a:lnTo>
                  <a:lnTo>
                    <a:pt x="290" y="84"/>
                  </a:lnTo>
                  <a:lnTo>
                    <a:pt x="281" y="84"/>
                  </a:lnTo>
                  <a:lnTo>
                    <a:pt x="281" y="37"/>
                  </a:lnTo>
                  <a:lnTo>
                    <a:pt x="281" y="33"/>
                  </a:lnTo>
                  <a:lnTo>
                    <a:pt x="281" y="29"/>
                  </a:lnTo>
                  <a:lnTo>
                    <a:pt x="281" y="26"/>
                  </a:lnTo>
                  <a:lnTo>
                    <a:pt x="281" y="24"/>
                  </a:lnTo>
                  <a:lnTo>
                    <a:pt x="290" y="24"/>
                  </a:lnTo>
                  <a:lnTo>
                    <a:pt x="290" y="35"/>
                  </a:lnTo>
                  <a:lnTo>
                    <a:pt x="290" y="35"/>
                  </a:lnTo>
                  <a:lnTo>
                    <a:pt x="291" y="32"/>
                  </a:lnTo>
                  <a:lnTo>
                    <a:pt x="294" y="28"/>
                  </a:lnTo>
                  <a:lnTo>
                    <a:pt x="296" y="25"/>
                  </a:lnTo>
                  <a:lnTo>
                    <a:pt x="301" y="22"/>
                  </a:lnTo>
                  <a:lnTo>
                    <a:pt x="305" y="22"/>
                  </a:lnTo>
                  <a:close/>
                  <a:moveTo>
                    <a:pt x="255" y="6"/>
                  </a:moveTo>
                  <a:lnTo>
                    <a:pt x="255" y="24"/>
                  </a:lnTo>
                  <a:lnTo>
                    <a:pt x="269" y="24"/>
                  </a:lnTo>
                  <a:lnTo>
                    <a:pt x="269" y="31"/>
                  </a:lnTo>
                  <a:lnTo>
                    <a:pt x="255" y="31"/>
                  </a:lnTo>
                  <a:lnTo>
                    <a:pt x="255" y="69"/>
                  </a:lnTo>
                  <a:lnTo>
                    <a:pt x="255" y="73"/>
                  </a:lnTo>
                  <a:lnTo>
                    <a:pt x="255" y="76"/>
                  </a:lnTo>
                  <a:lnTo>
                    <a:pt x="258" y="77"/>
                  </a:lnTo>
                  <a:lnTo>
                    <a:pt x="259" y="79"/>
                  </a:lnTo>
                  <a:lnTo>
                    <a:pt x="263" y="80"/>
                  </a:lnTo>
                  <a:lnTo>
                    <a:pt x="266" y="79"/>
                  </a:lnTo>
                  <a:lnTo>
                    <a:pt x="270" y="77"/>
                  </a:lnTo>
                  <a:lnTo>
                    <a:pt x="270" y="84"/>
                  </a:lnTo>
                  <a:lnTo>
                    <a:pt x="268" y="86"/>
                  </a:lnTo>
                  <a:lnTo>
                    <a:pt x="265" y="86"/>
                  </a:lnTo>
                  <a:lnTo>
                    <a:pt x="261" y="86"/>
                  </a:lnTo>
                  <a:lnTo>
                    <a:pt x="257" y="86"/>
                  </a:lnTo>
                  <a:lnTo>
                    <a:pt x="252" y="84"/>
                  </a:lnTo>
                  <a:lnTo>
                    <a:pt x="250" y="81"/>
                  </a:lnTo>
                  <a:lnTo>
                    <a:pt x="248" y="79"/>
                  </a:lnTo>
                  <a:lnTo>
                    <a:pt x="247" y="75"/>
                  </a:lnTo>
                  <a:lnTo>
                    <a:pt x="247" y="70"/>
                  </a:lnTo>
                  <a:lnTo>
                    <a:pt x="247" y="65"/>
                  </a:lnTo>
                  <a:lnTo>
                    <a:pt x="247" y="31"/>
                  </a:lnTo>
                  <a:lnTo>
                    <a:pt x="236" y="31"/>
                  </a:lnTo>
                  <a:lnTo>
                    <a:pt x="236" y="24"/>
                  </a:lnTo>
                  <a:lnTo>
                    <a:pt x="247" y="24"/>
                  </a:lnTo>
                  <a:lnTo>
                    <a:pt x="247" y="9"/>
                  </a:lnTo>
                  <a:lnTo>
                    <a:pt x="255" y="6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4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8" y="84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46" y="84"/>
                  </a:lnTo>
                  <a:lnTo>
                    <a:pt x="39" y="84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207" y="0"/>
                  </a:moveTo>
                  <a:lnTo>
                    <a:pt x="211" y="0"/>
                  </a:lnTo>
                  <a:lnTo>
                    <a:pt x="217" y="0"/>
                  </a:lnTo>
                  <a:lnTo>
                    <a:pt x="224" y="3"/>
                  </a:lnTo>
                  <a:lnTo>
                    <a:pt x="222" y="10"/>
                  </a:lnTo>
                  <a:lnTo>
                    <a:pt x="217" y="9"/>
                  </a:lnTo>
                  <a:lnTo>
                    <a:pt x="213" y="7"/>
                  </a:lnTo>
                  <a:lnTo>
                    <a:pt x="207" y="7"/>
                  </a:lnTo>
                  <a:lnTo>
                    <a:pt x="203" y="7"/>
                  </a:lnTo>
                  <a:lnTo>
                    <a:pt x="199" y="9"/>
                  </a:lnTo>
                  <a:lnTo>
                    <a:pt x="196" y="10"/>
                  </a:lnTo>
                  <a:lnTo>
                    <a:pt x="193" y="11"/>
                  </a:lnTo>
                  <a:lnTo>
                    <a:pt x="191" y="14"/>
                  </a:lnTo>
                  <a:lnTo>
                    <a:pt x="189" y="17"/>
                  </a:lnTo>
                  <a:lnTo>
                    <a:pt x="189" y="21"/>
                  </a:lnTo>
                  <a:lnTo>
                    <a:pt x="192" y="28"/>
                  </a:lnTo>
                  <a:lnTo>
                    <a:pt x="199" y="33"/>
                  </a:lnTo>
                  <a:lnTo>
                    <a:pt x="207" y="39"/>
                  </a:lnTo>
                  <a:lnTo>
                    <a:pt x="217" y="44"/>
                  </a:lnTo>
                  <a:lnTo>
                    <a:pt x="224" y="53"/>
                  </a:lnTo>
                  <a:lnTo>
                    <a:pt x="226" y="62"/>
                  </a:lnTo>
                  <a:lnTo>
                    <a:pt x="224" y="73"/>
                  </a:lnTo>
                  <a:lnTo>
                    <a:pt x="218" y="80"/>
                  </a:lnTo>
                  <a:lnTo>
                    <a:pt x="209" y="84"/>
                  </a:lnTo>
                  <a:lnTo>
                    <a:pt x="199" y="86"/>
                  </a:lnTo>
                  <a:lnTo>
                    <a:pt x="192" y="86"/>
                  </a:lnTo>
                  <a:lnTo>
                    <a:pt x="185" y="84"/>
                  </a:lnTo>
                  <a:lnTo>
                    <a:pt x="181" y="83"/>
                  </a:lnTo>
                  <a:lnTo>
                    <a:pt x="181" y="73"/>
                  </a:lnTo>
                  <a:lnTo>
                    <a:pt x="187" y="76"/>
                  </a:lnTo>
                  <a:lnTo>
                    <a:pt x="192" y="79"/>
                  </a:lnTo>
                  <a:lnTo>
                    <a:pt x="200" y="79"/>
                  </a:lnTo>
                  <a:lnTo>
                    <a:pt x="204" y="79"/>
                  </a:lnTo>
                  <a:lnTo>
                    <a:pt x="209" y="77"/>
                  </a:lnTo>
                  <a:lnTo>
                    <a:pt x="213" y="75"/>
                  </a:lnTo>
                  <a:lnTo>
                    <a:pt x="215" y="72"/>
                  </a:lnTo>
                  <a:lnTo>
                    <a:pt x="218" y="68"/>
                  </a:lnTo>
                  <a:lnTo>
                    <a:pt x="218" y="62"/>
                  </a:lnTo>
                  <a:lnTo>
                    <a:pt x="215" y="54"/>
                  </a:lnTo>
                  <a:lnTo>
                    <a:pt x="209" y="48"/>
                  </a:lnTo>
                  <a:lnTo>
                    <a:pt x="199" y="44"/>
                  </a:lnTo>
                  <a:lnTo>
                    <a:pt x="191" y="37"/>
                  </a:lnTo>
                  <a:lnTo>
                    <a:pt x="184" y="31"/>
                  </a:lnTo>
                  <a:lnTo>
                    <a:pt x="181" y="21"/>
                  </a:lnTo>
                  <a:lnTo>
                    <a:pt x="182" y="13"/>
                  </a:lnTo>
                  <a:lnTo>
                    <a:pt x="188" y="6"/>
                  </a:lnTo>
                  <a:lnTo>
                    <a:pt x="196" y="2"/>
                  </a:lnTo>
                  <a:lnTo>
                    <a:pt x="207" y="0"/>
                  </a:lnTo>
                  <a:close/>
                  <a:moveTo>
                    <a:pt x="154" y="0"/>
                  </a:moveTo>
                  <a:lnTo>
                    <a:pt x="162" y="0"/>
                  </a:lnTo>
                  <a:lnTo>
                    <a:pt x="115" y="86"/>
                  </a:lnTo>
                  <a:lnTo>
                    <a:pt x="107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37"/>
            <p:cNvSpPr>
              <a:spLocks noEditPoints="1"/>
            </p:cNvSpPr>
            <p:nvPr userDrawn="1"/>
          </p:nvSpPr>
          <p:spPr bwMode="auto">
            <a:xfrm>
              <a:off x="2440439" y="6142701"/>
              <a:ext cx="785872" cy="91331"/>
            </a:xfrm>
            <a:custGeom>
              <a:avLst/>
              <a:gdLst>
                <a:gd name="T0" fmla="*/ 501 w 740"/>
                <a:gd name="T1" fmla="*/ 73 h 86"/>
                <a:gd name="T2" fmla="*/ 521 w 740"/>
                <a:gd name="T3" fmla="*/ 77 h 86"/>
                <a:gd name="T4" fmla="*/ 531 w 740"/>
                <a:gd name="T5" fmla="*/ 59 h 86"/>
                <a:gd name="T6" fmla="*/ 707 w 740"/>
                <a:gd name="T7" fmla="*/ 32 h 86"/>
                <a:gd name="T8" fmla="*/ 732 w 740"/>
                <a:gd name="T9" fmla="*/ 46 h 86"/>
                <a:gd name="T10" fmla="*/ 717 w 740"/>
                <a:gd name="T11" fmla="*/ 29 h 86"/>
                <a:gd name="T12" fmla="*/ 241 w 740"/>
                <a:gd name="T13" fmla="*/ 44 h 86"/>
                <a:gd name="T14" fmla="*/ 269 w 740"/>
                <a:gd name="T15" fmla="*/ 33 h 86"/>
                <a:gd name="T16" fmla="*/ 420 w 740"/>
                <a:gd name="T17" fmla="*/ 76 h 86"/>
                <a:gd name="T18" fmla="*/ 479 w 740"/>
                <a:gd name="T19" fmla="*/ 24 h 86"/>
                <a:gd name="T20" fmla="*/ 424 w 740"/>
                <a:gd name="T21" fmla="*/ 84 h 86"/>
                <a:gd name="T22" fmla="*/ 739 w 740"/>
                <a:gd name="T23" fmla="*/ 40 h 86"/>
                <a:gd name="T24" fmla="*/ 710 w 740"/>
                <a:gd name="T25" fmla="*/ 77 h 86"/>
                <a:gd name="T26" fmla="*/ 736 w 740"/>
                <a:gd name="T27" fmla="*/ 83 h 86"/>
                <a:gd name="T28" fmla="*/ 692 w 740"/>
                <a:gd name="T29" fmla="*/ 66 h 86"/>
                <a:gd name="T30" fmla="*/ 622 w 740"/>
                <a:gd name="T31" fmla="*/ 22 h 86"/>
                <a:gd name="T32" fmla="*/ 637 w 740"/>
                <a:gd name="T33" fmla="*/ 35 h 86"/>
                <a:gd name="T34" fmla="*/ 658 w 740"/>
                <a:gd name="T35" fmla="*/ 22 h 86"/>
                <a:gd name="T36" fmla="*/ 677 w 740"/>
                <a:gd name="T37" fmla="*/ 43 h 86"/>
                <a:gd name="T38" fmla="*/ 666 w 740"/>
                <a:gd name="T39" fmla="*/ 33 h 86"/>
                <a:gd name="T40" fmla="*/ 640 w 740"/>
                <a:gd name="T41" fmla="*/ 51 h 86"/>
                <a:gd name="T42" fmla="*/ 629 w 740"/>
                <a:gd name="T43" fmla="*/ 33 h 86"/>
                <a:gd name="T44" fmla="*/ 603 w 740"/>
                <a:gd name="T45" fmla="*/ 51 h 86"/>
                <a:gd name="T46" fmla="*/ 603 w 740"/>
                <a:gd name="T47" fmla="*/ 24 h 86"/>
                <a:gd name="T48" fmla="*/ 609 w 740"/>
                <a:gd name="T49" fmla="*/ 25 h 86"/>
                <a:gd name="T50" fmla="*/ 583 w 740"/>
                <a:gd name="T51" fmla="*/ 22 h 86"/>
                <a:gd name="T52" fmla="*/ 564 w 740"/>
                <a:gd name="T53" fmla="*/ 46 h 86"/>
                <a:gd name="T54" fmla="*/ 556 w 740"/>
                <a:gd name="T55" fmla="*/ 29 h 86"/>
                <a:gd name="T56" fmla="*/ 565 w 740"/>
                <a:gd name="T57" fmla="*/ 32 h 86"/>
                <a:gd name="T58" fmla="*/ 528 w 740"/>
                <a:gd name="T59" fmla="*/ 25 h 86"/>
                <a:gd name="T60" fmla="*/ 531 w 740"/>
                <a:gd name="T61" fmla="*/ 84 h 86"/>
                <a:gd name="T62" fmla="*/ 516 w 740"/>
                <a:gd name="T63" fmla="*/ 86 h 86"/>
                <a:gd name="T64" fmla="*/ 494 w 740"/>
                <a:gd name="T65" fmla="*/ 76 h 86"/>
                <a:gd name="T66" fmla="*/ 509 w 740"/>
                <a:gd name="T67" fmla="*/ 48 h 86"/>
                <a:gd name="T68" fmla="*/ 530 w 740"/>
                <a:gd name="T69" fmla="*/ 35 h 86"/>
                <a:gd name="T70" fmla="*/ 505 w 740"/>
                <a:gd name="T71" fmla="*/ 31 h 86"/>
                <a:gd name="T72" fmla="*/ 517 w 740"/>
                <a:gd name="T73" fmla="*/ 22 h 86"/>
                <a:gd name="T74" fmla="*/ 385 w 740"/>
                <a:gd name="T75" fmla="*/ 84 h 86"/>
                <a:gd name="T76" fmla="*/ 372 w 740"/>
                <a:gd name="T77" fmla="*/ 31 h 86"/>
                <a:gd name="T78" fmla="*/ 346 w 740"/>
                <a:gd name="T79" fmla="*/ 51 h 86"/>
                <a:gd name="T80" fmla="*/ 344 w 740"/>
                <a:gd name="T81" fmla="*/ 24 h 86"/>
                <a:gd name="T82" fmla="*/ 354 w 740"/>
                <a:gd name="T83" fmla="*/ 24 h 86"/>
                <a:gd name="T84" fmla="*/ 324 w 740"/>
                <a:gd name="T85" fmla="*/ 31 h 86"/>
                <a:gd name="T86" fmla="*/ 303 w 740"/>
                <a:gd name="T87" fmla="*/ 54 h 86"/>
                <a:gd name="T88" fmla="*/ 296 w 740"/>
                <a:gd name="T89" fmla="*/ 26 h 86"/>
                <a:gd name="T90" fmla="*/ 307 w 740"/>
                <a:gd name="T91" fmla="*/ 28 h 86"/>
                <a:gd name="T92" fmla="*/ 275 w 740"/>
                <a:gd name="T93" fmla="*/ 31 h 86"/>
                <a:gd name="T94" fmla="*/ 245 w 740"/>
                <a:gd name="T95" fmla="*/ 73 h 86"/>
                <a:gd name="T96" fmla="*/ 277 w 740"/>
                <a:gd name="T97" fmla="*/ 75 h 86"/>
                <a:gd name="T98" fmla="*/ 238 w 740"/>
                <a:gd name="T99" fmla="*/ 77 h 86"/>
                <a:gd name="T100" fmla="*/ 258 w 740"/>
                <a:gd name="T101" fmla="*/ 22 h 86"/>
                <a:gd name="T102" fmla="*/ 502 w 740"/>
                <a:gd name="T103" fmla="*/ 3 h 86"/>
                <a:gd name="T104" fmla="*/ 223 w 740"/>
                <a:gd name="T105" fmla="*/ 2 h 86"/>
                <a:gd name="T106" fmla="*/ 192 w 740"/>
                <a:gd name="T107" fmla="*/ 46 h 86"/>
                <a:gd name="T108" fmla="*/ 44 w 740"/>
                <a:gd name="T109" fmla="*/ 75 h 86"/>
                <a:gd name="T110" fmla="*/ 77 w 740"/>
                <a:gd name="T111" fmla="*/ 10 h 86"/>
                <a:gd name="T112" fmla="*/ 0 w 740"/>
                <a:gd name="T113" fmla="*/ 84 h 86"/>
                <a:gd name="T114" fmla="*/ 154 w 740"/>
                <a:gd name="T1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0" h="86">
                  <a:moveTo>
                    <a:pt x="528" y="54"/>
                  </a:moveTo>
                  <a:lnTo>
                    <a:pt x="519" y="54"/>
                  </a:lnTo>
                  <a:lnTo>
                    <a:pt x="509" y="57"/>
                  </a:lnTo>
                  <a:lnTo>
                    <a:pt x="502" y="61"/>
                  </a:lnTo>
                  <a:lnTo>
                    <a:pt x="499" y="69"/>
                  </a:lnTo>
                  <a:lnTo>
                    <a:pt x="501" y="73"/>
                  </a:lnTo>
                  <a:lnTo>
                    <a:pt x="502" y="76"/>
                  </a:lnTo>
                  <a:lnTo>
                    <a:pt x="505" y="77"/>
                  </a:lnTo>
                  <a:lnTo>
                    <a:pt x="509" y="79"/>
                  </a:lnTo>
                  <a:lnTo>
                    <a:pt x="513" y="80"/>
                  </a:lnTo>
                  <a:lnTo>
                    <a:pt x="517" y="79"/>
                  </a:lnTo>
                  <a:lnTo>
                    <a:pt x="521" y="77"/>
                  </a:lnTo>
                  <a:lnTo>
                    <a:pt x="526" y="75"/>
                  </a:lnTo>
                  <a:lnTo>
                    <a:pt x="527" y="72"/>
                  </a:lnTo>
                  <a:lnTo>
                    <a:pt x="528" y="69"/>
                  </a:lnTo>
                  <a:lnTo>
                    <a:pt x="530" y="66"/>
                  </a:lnTo>
                  <a:lnTo>
                    <a:pt x="530" y="64"/>
                  </a:lnTo>
                  <a:lnTo>
                    <a:pt x="531" y="59"/>
                  </a:lnTo>
                  <a:lnTo>
                    <a:pt x="531" y="58"/>
                  </a:lnTo>
                  <a:lnTo>
                    <a:pt x="531" y="54"/>
                  </a:lnTo>
                  <a:lnTo>
                    <a:pt x="528" y="54"/>
                  </a:lnTo>
                  <a:close/>
                  <a:moveTo>
                    <a:pt x="717" y="29"/>
                  </a:moveTo>
                  <a:lnTo>
                    <a:pt x="711" y="29"/>
                  </a:lnTo>
                  <a:lnTo>
                    <a:pt x="707" y="32"/>
                  </a:lnTo>
                  <a:lnTo>
                    <a:pt x="703" y="35"/>
                  </a:lnTo>
                  <a:lnTo>
                    <a:pt x="700" y="40"/>
                  </a:lnTo>
                  <a:lnTo>
                    <a:pt x="699" y="44"/>
                  </a:lnTo>
                  <a:lnTo>
                    <a:pt x="699" y="50"/>
                  </a:lnTo>
                  <a:lnTo>
                    <a:pt x="732" y="50"/>
                  </a:lnTo>
                  <a:lnTo>
                    <a:pt x="732" y="46"/>
                  </a:lnTo>
                  <a:lnTo>
                    <a:pt x="730" y="42"/>
                  </a:lnTo>
                  <a:lnTo>
                    <a:pt x="729" y="37"/>
                  </a:lnTo>
                  <a:lnTo>
                    <a:pt x="728" y="33"/>
                  </a:lnTo>
                  <a:lnTo>
                    <a:pt x="724" y="31"/>
                  </a:lnTo>
                  <a:lnTo>
                    <a:pt x="721" y="29"/>
                  </a:lnTo>
                  <a:lnTo>
                    <a:pt x="717" y="29"/>
                  </a:lnTo>
                  <a:close/>
                  <a:moveTo>
                    <a:pt x="258" y="29"/>
                  </a:moveTo>
                  <a:lnTo>
                    <a:pt x="252" y="29"/>
                  </a:lnTo>
                  <a:lnTo>
                    <a:pt x="248" y="32"/>
                  </a:lnTo>
                  <a:lnTo>
                    <a:pt x="245" y="35"/>
                  </a:lnTo>
                  <a:lnTo>
                    <a:pt x="242" y="40"/>
                  </a:lnTo>
                  <a:lnTo>
                    <a:pt x="241" y="44"/>
                  </a:lnTo>
                  <a:lnTo>
                    <a:pt x="240" y="50"/>
                  </a:lnTo>
                  <a:lnTo>
                    <a:pt x="273" y="50"/>
                  </a:lnTo>
                  <a:lnTo>
                    <a:pt x="273" y="46"/>
                  </a:lnTo>
                  <a:lnTo>
                    <a:pt x="273" y="42"/>
                  </a:lnTo>
                  <a:lnTo>
                    <a:pt x="271" y="37"/>
                  </a:lnTo>
                  <a:lnTo>
                    <a:pt x="269" y="33"/>
                  </a:lnTo>
                  <a:lnTo>
                    <a:pt x="266" y="31"/>
                  </a:lnTo>
                  <a:lnTo>
                    <a:pt x="262" y="29"/>
                  </a:lnTo>
                  <a:lnTo>
                    <a:pt x="258" y="29"/>
                  </a:lnTo>
                  <a:close/>
                  <a:moveTo>
                    <a:pt x="395" y="24"/>
                  </a:moveTo>
                  <a:lnTo>
                    <a:pt x="403" y="24"/>
                  </a:lnTo>
                  <a:lnTo>
                    <a:pt x="420" y="76"/>
                  </a:lnTo>
                  <a:lnTo>
                    <a:pt x="420" y="76"/>
                  </a:lnTo>
                  <a:lnTo>
                    <a:pt x="436" y="24"/>
                  </a:lnTo>
                  <a:lnTo>
                    <a:pt x="446" y="24"/>
                  </a:lnTo>
                  <a:lnTo>
                    <a:pt x="461" y="76"/>
                  </a:lnTo>
                  <a:lnTo>
                    <a:pt x="462" y="76"/>
                  </a:lnTo>
                  <a:lnTo>
                    <a:pt x="479" y="24"/>
                  </a:lnTo>
                  <a:lnTo>
                    <a:pt x="486" y="24"/>
                  </a:lnTo>
                  <a:lnTo>
                    <a:pt x="466" y="84"/>
                  </a:lnTo>
                  <a:lnTo>
                    <a:pt x="457" y="84"/>
                  </a:lnTo>
                  <a:lnTo>
                    <a:pt x="440" y="32"/>
                  </a:lnTo>
                  <a:lnTo>
                    <a:pt x="440" y="32"/>
                  </a:lnTo>
                  <a:lnTo>
                    <a:pt x="424" y="84"/>
                  </a:lnTo>
                  <a:lnTo>
                    <a:pt x="414" y="84"/>
                  </a:lnTo>
                  <a:lnTo>
                    <a:pt x="395" y="24"/>
                  </a:lnTo>
                  <a:close/>
                  <a:moveTo>
                    <a:pt x="715" y="22"/>
                  </a:moveTo>
                  <a:lnTo>
                    <a:pt x="726" y="25"/>
                  </a:lnTo>
                  <a:lnTo>
                    <a:pt x="734" y="31"/>
                  </a:lnTo>
                  <a:lnTo>
                    <a:pt x="739" y="40"/>
                  </a:lnTo>
                  <a:lnTo>
                    <a:pt x="740" y="53"/>
                  </a:lnTo>
                  <a:lnTo>
                    <a:pt x="740" y="57"/>
                  </a:lnTo>
                  <a:lnTo>
                    <a:pt x="699" y="57"/>
                  </a:lnTo>
                  <a:lnTo>
                    <a:pt x="700" y="65"/>
                  </a:lnTo>
                  <a:lnTo>
                    <a:pt x="703" y="73"/>
                  </a:lnTo>
                  <a:lnTo>
                    <a:pt x="710" y="77"/>
                  </a:lnTo>
                  <a:lnTo>
                    <a:pt x="718" y="80"/>
                  </a:lnTo>
                  <a:lnTo>
                    <a:pt x="722" y="79"/>
                  </a:lnTo>
                  <a:lnTo>
                    <a:pt x="728" y="77"/>
                  </a:lnTo>
                  <a:lnTo>
                    <a:pt x="732" y="76"/>
                  </a:lnTo>
                  <a:lnTo>
                    <a:pt x="736" y="75"/>
                  </a:lnTo>
                  <a:lnTo>
                    <a:pt x="736" y="83"/>
                  </a:lnTo>
                  <a:lnTo>
                    <a:pt x="729" y="84"/>
                  </a:lnTo>
                  <a:lnTo>
                    <a:pt x="724" y="86"/>
                  </a:lnTo>
                  <a:lnTo>
                    <a:pt x="718" y="86"/>
                  </a:lnTo>
                  <a:lnTo>
                    <a:pt x="704" y="83"/>
                  </a:lnTo>
                  <a:lnTo>
                    <a:pt x="696" y="77"/>
                  </a:lnTo>
                  <a:lnTo>
                    <a:pt x="692" y="66"/>
                  </a:lnTo>
                  <a:lnTo>
                    <a:pt x="691" y="54"/>
                  </a:lnTo>
                  <a:lnTo>
                    <a:pt x="692" y="42"/>
                  </a:lnTo>
                  <a:lnTo>
                    <a:pt x="697" y="31"/>
                  </a:lnTo>
                  <a:lnTo>
                    <a:pt x="706" y="25"/>
                  </a:lnTo>
                  <a:lnTo>
                    <a:pt x="715" y="22"/>
                  </a:lnTo>
                  <a:close/>
                  <a:moveTo>
                    <a:pt x="622" y="22"/>
                  </a:moveTo>
                  <a:lnTo>
                    <a:pt x="625" y="22"/>
                  </a:lnTo>
                  <a:lnTo>
                    <a:pt x="627" y="24"/>
                  </a:lnTo>
                  <a:lnTo>
                    <a:pt x="631" y="25"/>
                  </a:lnTo>
                  <a:lnTo>
                    <a:pt x="634" y="26"/>
                  </a:lnTo>
                  <a:lnTo>
                    <a:pt x="636" y="31"/>
                  </a:lnTo>
                  <a:lnTo>
                    <a:pt x="637" y="35"/>
                  </a:lnTo>
                  <a:lnTo>
                    <a:pt x="638" y="35"/>
                  </a:lnTo>
                  <a:lnTo>
                    <a:pt x="640" y="31"/>
                  </a:lnTo>
                  <a:lnTo>
                    <a:pt x="642" y="28"/>
                  </a:lnTo>
                  <a:lnTo>
                    <a:pt x="647" y="25"/>
                  </a:lnTo>
                  <a:lnTo>
                    <a:pt x="652" y="22"/>
                  </a:lnTo>
                  <a:lnTo>
                    <a:pt x="658" y="22"/>
                  </a:lnTo>
                  <a:lnTo>
                    <a:pt x="663" y="22"/>
                  </a:lnTo>
                  <a:lnTo>
                    <a:pt x="667" y="25"/>
                  </a:lnTo>
                  <a:lnTo>
                    <a:pt x="671" y="28"/>
                  </a:lnTo>
                  <a:lnTo>
                    <a:pt x="674" y="32"/>
                  </a:lnTo>
                  <a:lnTo>
                    <a:pt x="675" y="37"/>
                  </a:lnTo>
                  <a:lnTo>
                    <a:pt x="677" y="43"/>
                  </a:lnTo>
                  <a:lnTo>
                    <a:pt x="677" y="84"/>
                  </a:lnTo>
                  <a:lnTo>
                    <a:pt x="669" y="84"/>
                  </a:lnTo>
                  <a:lnTo>
                    <a:pt x="669" y="44"/>
                  </a:lnTo>
                  <a:lnTo>
                    <a:pt x="669" y="40"/>
                  </a:lnTo>
                  <a:lnTo>
                    <a:pt x="667" y="36"/>
                  </a:lnTo>
                  <a:lnTo>
                    <a:pt x="666" y="33"/>
                  </a:lnTo>
                  <a:lnTo>
                    <a:pt x="663" y="31"/>
                  </a:lnTo>
                  <a:lnTo>
                    <a:pt x="660" y="29"/>
                  </a:lnTo>
                  <a:lnTo>
                    <a:pt x="656" y="29"/>
                  </a:lnTo>
                  <a:lnTo>
                    <a:pt x="648" y="31"/>
                  </a:lnTo>
                  <a:lnTo>
                    <a:pt x="642" y="39"/>
                  </a:lnTo>
                  <a:lnTo>
                    <a:pt x="640" y="51"/>
                  </a:lnTo>
                  <a:lnTo>
                    <a:pt x="640" y="84"/>
                  </a:lnTo>
                  <a:lnTo>
                    <a:pt x="633" y="84"/>
                  </a:lnTo>
                  <a:lnTo>
                    <a:pt x="633" y="44"/>
                  </a:lnTo>
                  <a:lnTo>
                    <a:pt x="631" y="40"/>
                  </a:lnTo>
                  <a:lnTo>
                    <a:pt x="631" y="36"/>
                  </a:lnTo>
                  <a:lnTo>
                    <a:pt x="629" y="33"/>
                  </a:lnTo>
                  <a:lnTo>
                    <a:pt x="627" y="31"/>
                  </a:lnTo>
                  <a:lnTo>
                    <a:pt x="623" y="29"/>
                  </a:lnTo>
                  <a:lnTo>
                    <a:pt x="619" y="29"/>
                  </a:lnTo>
                  <a:lnTo>
                    <a:pt x="611" y="31"/>
                  </a:lnTo>
                  <a:lnTo>
                    <a:pt x="605" y="39"/>
                  </a:lnTo>
                  <a:lnTo>
                    <a:pt x="603" y="51"/>
                  </a:lnTo>
                  <a:lnTo>
                    <a:pt x="603" y="84"/>
                  </a:lnTo>
                  <a:lnTo>
                    <a:pt x="596" y="84"/>
                  </a:lnTo>
                  <a:lnTo>
                    <a:pt x="596" y="37"/>
                  </a:lnTo>
                  <a:lnTo>
                    <a:pt x="596" y="31"/>
                  </a:lnTo>
                  <a:lnTo>
                    <a:pt x="596" y="24"/>
                  </a:lnTo>
                  <a:lnTo>
                    <a:pt x="603" y="24"/>
                  </a:lnTo>
                  <a:lnTo>
                    <a:pt x="603" y="33"/>
                  </a:lnTo>
                  <a:lnTo>
                    <a:pt x="603" y="35"/>
                  </a:lnTo>
                  <a:lnTo>
                    <a:pt x="604" y="32"/>
                  </a:lnTo>
                  <a:lnTo>
                    <a:pt x="605" y="31"/>
                  </a:lnTo>
                  <a:lnTo>
                    <a:pt x="607" y="28"/>
                  </a:lnTo>
                  <a:lnTo>
                    <a:pt x="609" y="25"/>
                  </a:lnTo>
                  <a:lnTo>
                    <a:pt x="612" y="24"/>
                  </a:lnTo>
                  <a:lnTo>
                    <a:pt x="616" y="22"/>
                  </a:lnTo>
                  <a:lnTo>
                    <a:pt x="622" y="22"/>
                  </a:lnTo>
                  <a:close/>
                  <a:moveTo>
                    <a:pt x="579" y="22"/>
                  </a:moveTo>
                  <a:lnTo>
                    <a:pt x="582" y="22"/>
                  </a:lnTo>
                  <a:lnTo>
                    <a:pt x="583" y="22"/>
                  </a:lnTo>
                  <a:lnTo>
                    <a:pt x="583" y="31"/>
                  </a:lnTo>
                  <a:lnTo>
                    <a:pt x="582" y="31"/>
                  </a:lnTo>
                  <a:lnTo>
                    <a:pt x="578" y="31"/>
                  </a:lnTo>
                  <a:lnTo>
                    <a:pt x="571" y="32"/>
                  </a:lnTo>
                  <a:lnTo>
                    <a:pt x="567" y="39"/>
                  </a:lnTo>
                  <a:lnTo>
                    <a:pt x="564" y="46"/>
                  </a:lnTo>
                  <a:lnTo>
                    <a:pt x="563" y="54"/>
                  </a:lnTo>
                  <a:lnTo>
                    <a:pt x="563" y="84"/>
                  </a:lnTo>
                  <a:lnTo>
                    <a:pt x="556" y="84"/>
                  </a:lnTo>
                  <a:lnTo>
                    <a:pt x="556" y="37"/>
                  </a:lnTo>
                  <a:lnTo>
                    <a:pt x="556" y="33"/>
                  </a:lnTo>
                  <a:lnTo>
                    <a:pt x="556" y="29"/>
                  </a:lnTo>
                  <a:lnTo>
                    <a:pt x="556" y="26"/>
                  </a:lnTo>
                  <a:lnTo>
                    <a:pt x="556" y="24"/>
                  </a:lnTo>
                  <a:lnTo>
                    <a:pt x="563" y="24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5" y="32"/>
                  </a:lnTo>
                  <a:lnTo>
                    <a:pt x="568" y="28"/>
                  </a:lnTo>
                  <a:lnTo>
                    <a:pt x="571" y="25"/>
                  </a:lnTo>
                  <a:lnTo>
                    <a:pt x="575" y="22"/>
                  </a:lnTo>
                  <a:lnTo>
                    <a:pt x="579" y="22"/>
                  </a:lnTo>
                  <a:close/>
                  <a:moveTo>
                    <a:pt x="517" y="22"/>
                  </a:moveTo>
                  <a:lnTo>
                    <a:pt x="528" y="25"/>
                  </a:lnTo>
                  <a:lnTo>
                    <a:pt x="535" y="32"/>
                  </a:lnTo>
                  <a:lnTo>
                    <a:pt x="538" y="44"/>
                  </a:lnTo>
                  <a:lnTo>
                    <a:pt x="538" y="72"/>
                  </a:lnTo>
                  <a:lnTo>
                    <a:pt x="538" y="79"/>
                  </a:lnTo>
                  <a:lnTo>
                    <a:pt x="538" y="84"/>
                  </a:lnTo>
                  <a:lnTo>
                    <a:pt x="531" y="84"/>
                  </a:lnTo>
                  <a:lnTo>
                    <a:pt x="531" y="75"/>
                  </a:lnTo>
                  <a:lnTo>
                    <a:pt x="531" y="75"/>
                  </a:lnTo>
                  <a:lnTo>
                    <a:pt x="528" y="79"/>
                  </a:lnTo>
                  <a:lnTo>
                    <a:pt x="526" y="81"/>
                  </a:lnTo>
                  <a:lnTo>
                    <a:pt x="521" y="84"/>
                  </a:lnTo>
                  <a:lnTo>
                    <a:pt x="516" y="86"/>
                  </a:lnTo>
                  <a:lnTo>
                    <a:pt x="512" y="86"/>
                  </a:lnTo>
                  <a:lnTo>
                    <a:pt x="506" y="86"/>
                  </a:lnTo>
                  <a:lnTo>
                    <a:pt x="501" y="84"/>
                  </a:lnTo>
                  <a:lnTo>
                    <a:pt x="498" y="81"/>
                  </a:lnTo>
                  <a:lnTo>
                    <a:pt x="495" y="79"/>
                  </a:lnTo>
                  <a:lnTo>
                    <a:pt x="494" y="76"/>
                  </a:lnTo>
                  <a:lnTo>
                    <a:pt x="493" y="73"/>
                  </a:lnTo>
                  <a:lnTo>
                    <a:pt x="491" y="70"/>
                  </a:lnTo>
                  <a:lnTo>
                    <a:pt x="491" y="69"/>
                  </a:lnTo>
                  <a:lnTo>
                    <a:pt x="494" y="58"/>
                  </a:lnTo>
                  <a:lnTo>
                    <a:pt x="501" y="53"/>
                  </a:lnTo>
                  <a:lnTo>
                    <a:pt x="509" y="48"/>
                  </a:lnTo>
                  <a:lnTo>
                    <a:pt x="519" y="47"/>
                  </a:lnTo>
                  <a:lnTo>
                    <a:pt x="530" y="47"/>
                  </a:lnTo>
                  <a:lnTo>
                    <a:pt x="531" y="47"/>
                  </a:lnTo>
                  <a:lnTo>
                    <a:pt x="531" y="44"/>
                  </a:lnTo>
                  <a:lnTo>
                    <a:pt x="530" y="40"/>
                  </a:lnTo>
                  <a:lnTo>
                    <a:pt x="530" y="35"/>
                  </a:lnTo>
                  <a:lnTo>
                    <a:pt x="527" y="32"/>
                  </a:lnTo>
                  <a:lnTo>
                    <a:pt x="524" y="31"/>
                  </a:lnTo>
                  <a:lnTo>
                    <a:pt x="521" y="29"/>
                  </a:lnTo>
                  <a:lnTo>
                    <a:pt x="517" y="29"/>
                  </a:lnTo>
                  <a:lnTo>
                    <a:pt x="510" y="29"/>
                  </a:lnTo>
                  <a:lnTo>
                    <a:pt x="505" y="31"/>
                  </a:lnTo>
                  <a:lnTo>
                    <a:pt x="499" y="33"/>
                  </a:lnTo>
                  <a:lnTo>
                    <a:pt x="499" y="26"/>
                  </a:lnTo>
                  <a:lnTo>
                    <a:pt x="502" y="25"/>
                  </a:lnTo>
                  <a:lnTo>
                    <a:pt x="508" y="24"/>
                  </a:lnTo>
                  <a:lnTo>
                    <a:pt x="512" y="22"/>
                  </a:lnTo>
                  <a:lnTo>
                    <a:pt x="517" y="22"/>
                  </a:lnTo>
                  <a:close/>
                  <a:moveTo>
                    <a:pt x="365" y="22"/>
                  </a:moveTo>
                  <a:lnTo>
                    <a:pt x="374" y="24"/>
                  </a:lnTo>
                  <a:lnTo>
                    <a:pt x="380" y="29"/>
                  </a:lnTo>
                  <a:lnTo>
                    <a:pt x="384" y="36"/>
                  </a:lnTo>
                  <a:lnTo>
                    <a:pt x="385" y="46"/>
                  </a:lnTo>
                  <a:lnTo>
                    <a:pt x="385" y="84"/>
                  </a:lnTo>
                  <a:lnTo>
                    <a:pt x="377" y="84"/>
                  </a:lnTo>
                  <a:lnTo>
                    <a:pt x="377" y="47"/>
                  </a:lnTo>
                  <a:lnTo>
                    <a:pt x="377" y="42"/>
                  </a:lnTo>
                  <a:lnTo>
                    <a:pt x="376" y="37"/>
                  </a:lnTo>
                  <a:lnTo>
                    <a:pt x="374" y="33"/>
                  </a:lnTo>
                  <a:lnTo>
                    <a:pt x="372" y="31"/>
                  </a:lnTo>
                  <a:lnTo>
                    <a:pt x="367" y="29"/>
                  </a:lnTo>
                  <a:lnTo>
                    <a:pt x="363" y="29"/>
                  </a:lnTo>
                  <a:lnTo>
                    <a:pt x="355" y="31"/>
                  </a:lnTo>
                  <a:lnTo>
                    <a:pt x="350" y="35"/>
                  </a:lnTo>
                  <a:lnTo>
                    <a:pt x="346" y="43"/>
                  </a:lnTo>
                  <a:lnTo>
                    <a:pt x="346" y="51"/>
                  </a:lnTo>
                  <a:lnTo>
                    <a:pt x="346" y="84"/>
                  </a:lnTo>
                  <a:lnTo>
                    <a:pt x="337" y="84"/>
                  </a:lnTo>
                  <a:lnTo>
                    <a:pt x="337" y="37"/>
                  </a:lnTo>
                  <a:lnTo>
                    <a:pt x="337" y="31"/>
                  </a:lnTo>
                  <a:lnTo>
                    <a:pt x="337" y="24"/>
                  </a:lnTo>
                  <a:lnTo>
                    <a:pt x="344" y="24"/>
                  </a:lnTo>
                  <a:lnTo>
                    <a:pt x="344" y="35"/>
                  </a:lnTo>
                  <a:lnTo>
                    <a:pt x="344" y="35"/>
                  </a:lnTo>
                  <a:lnTo>
                    <a:pt x="346" y="32"/>
                  </a:lnTo>
                  <a:lnTo>
                    <a:pt x="348" y="29"/>
                  </a:lnTo>
                  <a:lnTo>
                    <a:pt x="351" y="26"/>
                  </a:lnTo>
                  <a:lnTo>
                    <a:pt x="354" y="24"/>
                  </a:lnTo>
                  <a:lnTo>
                    <a:pt x="359" y="22"/>
                  </a:lnTo>
                  <a:lnTo>
                    <a:pt x="365" y="22"/>
                  </a:lnTo>
                  <a:close/>
                  <a:moveTo>
                    <a:pt x="318" y="22"/>
                  </a:moveTo>
                  <a:lnTo>
                    <a:pt x="322" y="22"/>
                  </a:lnTo>
                  <a:lnTo>
                    <a:pt x="324" y="22"/>
                  </a:lnTo>
                  <a:lnTo>
                    <a:pt x="324" y="31"/>
                  </a:lnTo>
                  <a:lnTo>
                    <a:pt x="321" y="31"/>
                  </a:lnTo>
                  <a:lnTo>
                    <a:pt x="318" y="31"/>
                  </a:lnTo>
                  <a:lnTo>
                    <a:pt x="311" y="32"/>
                  </a:lnTo>
                  <a:lnTo>
                    <a:pt x="307" y="39"/>
                  </a:lnTo>
                  <a:lnTo>
                    <a:pt x="304" y="46"/>
                  </a:lnTo>
                  <a:lnTo>
                    <a:pt x="303" y="54"/>
                  </a:lnTo>
                  <a:lnTo>
                    <a:pt x="303" y="84"/>
                  </a:lnTo>
                  <a:lnTo>
                    <a:pt x="296" y="84"/>
                  </a:lnTo>
                  <a:lnTo>
                    <a:pt x="296" y="37"/>
                  </a:lnTo>
                  <a:lnTo>
                    <a:pt x="296" y="33"/>
                  </a:lnTo>
                  <a:lnTo>
                    <a:pt x="296" y="29"/>
                  </a:lnTo>
                  <a:lnTo>
                    <a:pt x="296" y="26"/>
                  </a:lnTo>
                  <a:lnTo>
                    <a:pt x="296" y="24"/>
                  </a:lnTo>
                  <a:lnTo>
                    <a:pt x="303" y="24"/>
                  </a:lnTo>
                  <a:lnTo>
                    <a:pt x="303" y="35"/>
                  </a:lnTo>
                  <a:lnTo>
                    <a:pt x="303" y="35"/>
                  </a:lnTo>
                  <a:lnTo>
                    <a:pt x="306" y="32"/>
                  </a:lnTo>
                  <a:lnTo>
                    <a:pt x="307" y="28"/>
                  </a:lnTo>
                  <a:lnTo>
                    <a:pt x="311" y="25"/>
                  </a:lnTo>
                  <a:lnTo>
                    <a:pt x="314" y="22"/>
                  </a:lnTo>
                  <a:lnTo>
                    <a:pt x="318" y="22"/>
                  </a:lnTo>
                  <a:close/>
                  <a:moveTo>
                    <a:pt x="258" y="22"/>
                  </a:moveTo>
                  <a:lnTo>
                    <a:pt x="269" y="25"/>
                  </a:lnTo>
                  <a:lnTo>
                    <a:pt x="275" y="31"/>
                  </a:lnTo>
                  <a:lnTo>
                    <a:pt x="280" y="40"/>
                  </a:lnTo>
                  <a:lnTo>
                    <a:pt x="281" y="53"/>
                  </a:lnTo>
                  <a:lnTo>
                    <a:pt x="281" y="57"/>
                  </a:lnTo>
                  <a:lnTo>
                    <a:pt x="240" y="57"/>
                  </a:lnTo>
                  <a:lnTo>
                    <a:pt x="241" y="65"/>
                  </a:lnTo>
                  <a:lnTo>
                    <a:pt x="245" y="73"/>
                  </a:lnTo>
                  <a:lnTo>
                    <a:pt x="252" y="77"/>
                  </a:lnTo>
                  <a:lnTo>
                    <a:pt x="260" y="80"/>
                  </a:lnTo>
                  <a:lnTo>
                    <a:pt x="264" y="79"/>
                  </a:lnTo>
                  <a:lnTo>
                    <a:pt x="270" y="77"/>
                  </a:lnTo>
                  <a:lnTo>
                    <a:pt x="274" y="76"/>
                  </a:lnTo>
                  <a:lnTo>
                    <a:pt x="277" y="75"/>
                  </a:lnTo>
                  <a:lnTo>
                    <a:pt x="277" y="83"/>
                  </a:lnTo>
                  <a:lnTo>
                    <a:pt x="271" y="84"/>
                  </a:lnTo>
                  <a:lnTo>
                    <a:pt x="266" y="86"/>
                  </a:lnTo>
                  <a:lnTo>
                    <a:pt x="259" y="86"/>
                  </a:lnTo>
                  <a:lnTo>
                    <a:pt x="247" y="83"/>
                  </a:lnTo>
                  <a:lnTo>
                    <a:pt x="238" y="77"/>
                  </a:lnTo>
                  <a:lnTo>
                    <a:pt x="233" y="66"/>
                  </a:lnTo>
                  <a:lnTo>
                    <a:pt x="231" y="54"/>
                  </a:lnTo>
                  <a:lnTo>
                    <a:pt x="234" y="42"/>
                  </a:lnTo>
                  <a:lnTo>
                    <a:pt x="238" y="31"/>
                  </a:lnTo>
                  <a:lnTo>
                    <a:pt x="247" y="25"/>
                  </a:lnTo>
                  <a:lnTo>
                    <a:pt x="258" y="22"/>
                  </a:lnTo>
                  <a:close/>
                  <a:moveTo>
                    <a:pt x="523" y="3"/>
                  </a:moveTo>
                  <a:lnTo>
                    <a:pt x="531" y="3"/>
                  </a:lnTo>
                  <a:lnTo>
                    <a:pt x="531" y="14"/>
                  </a:lnTo>
                  <a:lnTo>
                    <a:pt x="523" y="14"/>
                  </a:lnTo>
                  <a:lnTo>
                    <a:pt x="523" y="3"/>
                  </a:lnTo>
                  <a:close/>
                  <a:moveTo>
                    <a:pt x="502" y="3"/>
                  </a:moveTo>
                  <a:lnTo>
                    <a:pt x="510" y="3"/>
                  </a:lnTo>
                  <a:lnTo>
                    <a:pt x="510" y="14"/>
                  </a:lnTo>
                  <a:lnTo>
                    <a:pt x="502" y="14"/>
                  </a:lnTo>
                  <a:lnTo>
                    <a:pt x="502" y="3"/>
                  </a:lnTo>
                  <a:close/>
                  <a:moveTo>
                    <a:pt x="183" y="2"/>
                  </a:moveTo>
                  <a:lnTo>
                    <a:pt x="223" y="2"/>
                  </a:lnTo>
                  <a:lnTo>
                    <a:pt x="223" y="9"/>
                  </a:lnTo>
                  <a:lnTo>
                    <a:pt x="192" y="9"/>
                  </a:lnTo>
                  <a:lnTo>
                    <a:pt x="192" y="37"/>
                  </a:lnTo>
                  <a:lnTo>
                    <a:pt x="222" y="37"/>
                  </a:lnTo>
                  <a:lnTo>
                    <a:pt x="222" y="46"/>
                  </a:lnTo>
                  <a:lnTo>
                    <a:pt x="192" y="46"/>
                  </a:lnTo>
                  <a:lnTo>
                    <a:pt x="192" y="84"/>
                  </a:lnTo>
                  <a:lnTo>
                    <a:pt x="183" y="84"/>
                  </a:lnTo>
                  <a:lnTo>
                    <a:pt x="183" y="2"/>
                  </a:lnTo>
                  <a:close/>
                  <a:moveTo>
                    <a:pt x="0" y="2"/>
                  </a:moveTo>
                  <a:lnTo>
                    <a:pt x="13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6" y="2"/>
                  </a:lnTo>
                  <a:lnTo>
                    <a:pt x="86" y="84"/>
                  </a:lnTo>
                  <a:lnTo>
                    <a:pt x="77" y="84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38"/>
            <p:cNvSpPr>
              <a:spLocks noEditPoints="1"/>
            </p:cNvSpPr>
            <p:nvPr userDrawn="1"/>
          </p:nvSpPr>
          <p:spPr bwMode="auto">
            <a:xfrm>
              <a:off x="3408972" y="6137391"/>
              <a:ext cx="534181" cy="122129"/>
            </a:xfrm>
            <a:custGeom>
              <a:avLst/>
              <a:gdLst>
                <a:gd name="T0" fmla="*/ 415 w 503"/>
                <a:gd name="T1" fmla="*/ 74 h 115"/>
                <a:gd name="T2" fmla="*/ 427 w 503"/>
                <a:gd name="T3" fmla="*/ 85 h 115"/>
                <a:gd name="T4" fmla="*/ 444 w 503"/>
                <a:gd name="T5" fmla="*/ 74 h 115"/>
                <a:gd name="T6" fmla="*/ 445 w 503"/>
                <a:gd name="T7" fmla="*/ 59 h 115"/>
                <a:gd name="T8" fmla="*/ 350 w 503"/>
                <a:gd name="T9" fmla="*/ 51 h 115"/>
                <a:gd name="T10" fmla="*/ 367 w 503"/>
                <a:gd name="T11" fmla="*/ 82 h 115"/>
                <a:gd name="T12" fmla="*/ 385 w 503"/>
                <a:gd name="T13" fmla="*/ 49 h 115"/>
                <a:gd name="T14" fmla="*/ 293 w 503"/>
                <a:gd name="T15" fmla="*/ 36 h 115"/>
                <a:gd name="T16" fmla="*/ 287 w 503"/>
                <a:gd name="T17" fmla="*/ 77 h 115"/>
                <a:gd name="T18" fmla="*/ 319 w 503"/>
                <a:gd name="T19" fmla="*/ 67 h 115"/>
                <a:gd name="T20" fmla="*/ 301 w 503"/>
                <a:gd name="T21" fmla="*/ 34 h 115"/>
                <a:gd name="T22" fmla="*/ 500 w 503"/>
                <a:gd name="T23" fmla="*/ 37 h 115"/>
                <a:gd name="T24" fmla="*/ 478 w 503"/>
                <a:gd name="T25" fmla="*/ 36 h 115"/>
                <a:gd name="T26" fmla="*/ 481 w 503"/>
                <a:gd name="T27" fmla="*/ 52 h 115"/>
                <a:gd name="T28" fmla="*/ 503 w 503"/>
                <a:gd name="T29" fmla="*/ 78 h 115"/>
                <a:gd name="T30" fmla="*/ 486 w 503"/>
                <a:gd name="T31" fmla="*/ 91 h 115"/>
                <a:gd name="T32" fmla="*/ 466 w 503"/>
                <a:gd name="T33" fmla="*/ 81 h 115"/>
                <a:gd name="T34" fmla="*/ 489 w 503"/>
                <a:gd name="T35" fmla="*/ 82 h 115"/>
                <a:gd name="T36" fmla="*/ 488 w 503"/>
                <a:gd name="T37" fmla="*/ 63 h 115"/>
                <a:gd name="T38" fmla="*/ 467 w 503"/>
                <a:gd name="T39" fmla="*/ 40 h 115"/>
                <a:gd name="T40" fmla="*/ 482 w 503"/>
                <a:gd name="T41" fmla="*/ 27 h 115"/>
                <a:gd name="T42" fmla="*/ 453 w 503"/>
                <a:gd name="T43" fmla="*/ 49 h 115"/>
                <a:gd name="T44" fmla="*/ 447 w 503"/>
                <a:gd name="T45" fmla="*/ 80 h 115"/>
                <a:gd name="T46" fmla="*/ 431 w 503"/>
                <a:gd name="T47" fmla="*/ 91 h 115"/>
                <a:gd name="T48" fmla="*/ 409 w 503"/>
                <a:gd name="T49" fmla="*/ 84 h 115"/>
                <a:gd name="T50" fmla="*/ 409 w 503"/>
                <a:gd name="T51" fmla="*/ 63 h 115"/>
                <a:gd name="T52" fmla="*/ 445 w 503"/>
                <a:gd name="T53" fmla="*/ 52 h 115"/>
                <a:gd name="T54" fmla="*/ 440 w 503"/>
                <a:gd name="T55" fmla="*/ 36 h 115"/>
                <a:gd name="T56" fmla="*/ 414 w 503"/>
                <a:gd name="T57" fmla="*/ 38 h 115"/>
                <a:gd name="T58" fmla="*/ 431 w 503"/>
                <a:gd name="T59" fmla="*/ 27 h 115"/>
                <a:gd name="T60" fmla="*/ 385 w 503"/>
                <a:gd name="T61" fmla="*/ 36 h 115"/>
                <a:gd name="T62" fmla="*/ 392 w 503"/>
                <a:gd name="T63" fmla="*/ 96 h 115"/>
                <a:gd name="T64" fmla="*/ 353 w 503"/>
                <a:gd name="T65" fmla="*/ 114 h 115"/>
                <a:gd name="T66" fmla="*/ 359 w 503"/>
                <a:gd name="T67" fmla="*/ 108 h 115"/>
                <a:gd name="T68" fmla="*/ 385 w 503"/>
                <a:gd name="T69" fmla="*/ 88 h 115"/>
                <a:gd name="T70" fmla="*/ 375 w 503"/>
                <a:gd name="T71" fmla="*/ 88 h 115"/>
                <a:gd name="T72" fmla="*/ 345 w 503"/>
                <a:gd name="T73" fmla="*/ 75 h 115"/>
                <a:gd name="T74" fmla="*/ 354 w 503"/>
                <a:gd name="T75" fmla="*/ 30 h 115"/>
                <a:gd name="T76" fmla="*/ 269 w 503"/>
                <a:gd name="T77" fmla="*/ 36 h 115"/>
                <a:gd name="T78" fmla="*/ 250 w 503"/>
                <a:gd name="T79" fmla="*/ 51 h 115"/>
                <a:gd name="T80" fmla="*/ 242 w 503"/>
                <a:gd name="T81" fmla="*/ 38 h 115"/>
                <a:gd name="T82" fmla="*/ 249 w 503"/>
                <a:gd name="T83" fmla="*/ 40 h 115"/>
                <a:gd name="T84" fmla="*/ 260 w 503"/>
                <a:gd name="T85" fmla="*/ 27 h 115"/>
                <a:gd name="T86" fmla="*/ 191 w 503"/>
                <a:gd name="T87" fmla="*/ 14 h 115"/>
                <a:gd name="T88" fmla="*/ 191 w 503"/>
                <a:gd name="T89" fmla="*/ 82 h 115"/>
                <a:gd name="T90" fmla="*/ 0 w 503"/>
                <a:gd name="T91" fmla="*/ 7 h 115"/>
                <a:gd name="T92" fmla="*/ 85 w 503"/>
                <a:gd name="T93" fmla="*/ 89 h 115"/>
                <a:gd name="T94" fmla="*/ 38 w 503"/>
                <a:gd name="T95" fmla="*/ 89 h 115"/>
                <a:gd name="T96" fmla="*/ 0 w 503"/>
                <a:gd name="T97" fmla="*/ 7 h 115"/>
                <a:gd name="T98" fmla="*/ 152 w 503"/>
                <a:gd name="T99" fmla="*/ 5 h 115"/>
                <a:gd name="T100" fmla="*/ 319 w 503"/>
                <a:gd name="T101" fmla="*/ 80 h 115"/>
                <a:gd name="T102" fmla="*/ 301 w 503"/>
                <a:gd name="T103" fmla="*/ 91 h 115"/>
                <a:gd name="T104" fmla="*/ 276 w 503"/>
                <a:gd name="T105" fmla="*/ 47 h 115"/>
                <a:gd name="T106" fmla="*/ 310 w 503"/>
                <a:gd name="T107" fmla="*/ 30 h 115"/>
                <a:gd name="T108" fmla="*/ 319 w 503"/>
                <a:gd name="T109" fmla="*/ 38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3" h="115">
                  <a:moveTo>
                    <a:pt x="444" y="59"/>
                  </a:moveTo>
                  <a:lnTo>
                    <a:pt x="433" y="59"/>
                  </a:lnTo>
                  <a:lnTo>
                    <a:pt x="425" y="62"/>
                  </a:lnTo>
                  <a:lnTo>
                    <a:pt x="418" y="66"/>
                  </a:lnTo>
                  <a:lnTo>
                    <a:pt x="415" y="74"/>
                  </a:lnTo>
                  <a:lnTo>
                    <a:pt x="415" y="78"/>
                  </a:lnTo>
                  <a:lnTo>
                    <a:pt x="418" y="81"/>
                  </a:lnTo>
                  <a:lnTo>
                    <a:pt x="420" y="82"/>
                  </a:lnTo>
                  <a:lnTo>
                    <a:pt x="423" y="84"/>
                  </a:lnTo>
                  <a:lnTo>
                    <a:pt x="427" y="85"/>
                  </a:lnTo>
                  <a:lnTo>
                    <a:pt x="433" y="84"/>
                  </a:lnTo>
                  <a:lnTo>
                    <a:pt x="437" y="82"/>
                  </a:lnTo>
                  <a:lnTo>
                    <a:pt x="440" y="80"/>
                  </a:lnTo>
                  <a:lnTo>
                    <a:pt x="442" y="77"/>
                  </a:lnTo>
                  <a:lnTo>
                    <a:pt x="444" y="74"/>
                  </a:lnTo>
                  <a:lnTo>
                    <a:pt x="445" y="71"/>
                  </a:lnTo>
                  <a:lnTo>
                    <a:pt x="445" y="69"/>
                  </a:lnTo>
                  <a:lnTo>
                    <a:pt x="445" y="64"/>
                  </a:lnTo>
                  <a:lnTo>
                    <a:pt x="445" y="63"/>
                  </a:lnTo>
                  <a:lnTo>
                    <a:pt x="445" y="59"/>
                  </a:lnTo>
                  <a:lnTo>
                    <a:pt x="444" y="59"/>
                  </a:lnTo>
                  <a:close/>
                  <a:moveTo>
                    <a:pt x="368" y="34"/>
                  </a:moveTo>
                  <a:lnTo>
                    <a:pt x="359" y="36"/>
                  </a:lnTo>
                  <a:lnTo>
                    <a:pt x="353" y="42"/>
                  </a:lnTo>
                  <a:lnTo>
                    <a:pt x="350" y="51"/>
                  </a:lnTo>
                  <a:lnTo>
                    <a:pt x="349" y="59"/>
                  </a:lnTo>
                  <a:lnTo>
                    <a:pt x="350" y="67"/>
                  </a:lnTo>
                  <a:lnTo>
                    <a:pt x="353" y="75"/>
                  </a:lnTo>
                  <a:lnTo>
                    <a:pt x="359" y="81"/>
                  </a:lnTo>
                  <a:lnTo>
                    <a:pt x="367" y="82"/>
                  </a:lnTo>
                  <a:lnTo>
                    <a:pt x="375" y="81"/>
                  </a:lnTo>
                  <a:lnTo>
                    <a:pt x="382" y="75"/>
                  </a:lnTo>
                  <a:lnTo>
                    <a:pt x="385" y="67"/>
                  </a:lnTo>
                  <a:lnTo>
                    <a:pt x="386" y="59"/>
                  </a:lnTo>
                  <a:lnTo>
                    <a:pt x="385" y="49"/>
                  </a:lnTo>
                  <a:lnTo>
                    <a:pt x="382" y="40"/>
                  </a:lnTo>
                  <a:lnTo>
                    <a:pt x="376" y="36"/>
                  </a:lnTo>
                  <a:lnTo>
                    <a:pt x="368" y="34"/>
                  </a:lnTo>
                  <a:close/>
                  <a:moveTo>
                    <a:pt x="301" y="34"/>
                  </a:moveTo>
                  <a:lnTo>
                    <a:pt x="293" y="36"/>
                  </a:lnTo>
                  <a:lnTo>
                    <a:pt x="287" y="42"/>
                  </a:lnTo>
                  <a:lnTo>
                    <a:pt x="284" y="51"/>
                  </a:lnTo>
                  <a:lnTo>
                    <a:pt x="283" y="59"/>
                  </a:lnTo>
                  <a:lnTo>
                    <a:pt x="284" y="69"/>
                  </a:lnTo>
                  <a:lnTo>
                    <a:pt x="287" y="77"/>
                  </a:lnTo>
                  <a:lnTo>
                    <a:pt x="293" y="82"/>
                  </a:lnTo>
                  <a:lnTo>
                    <a:pt x="301" y="85"/>
                  </a:lnTo>
                  <a:lnTo>
                    <a:pt x="310" y="82"/>
                  </a:lnTo>
                  <a:lnTo>
                    <a:pt x="316" y="75"/>
                  </a:lnTo>
                  <a:lnTo>
                    <a:pt x="319" y="67"/>
                  </a:lnTo>
                  <a:lnTo>
                    <a:pt x="319" y="59"/>
                  </a:lnTo>
                  <a:lnTo>
                    <a:pt x="319" y="51"/>
                  </a:lnTo>
                  <a:lnTo>
                    <a:pt x="316" y="42"/>
                  </a:lnTo>
                  <a:lnTo>
                    <a:pt x="310" y="36"/>
                  </a:lnTo>
                  <a:lnTo>
                    <a:pt x="301" y="34"/>
                  </a:lnTo>
                  <a:close/>
                  <a:moveTo>
                    <a:pt x="486" y="27"/>
                  </a:moveTo>
                  <a:lnTo>
                    <a:pt x="491" y="27"/>
                  </a:lnTo>
                  <a:lnTo>
                    <a:pt x="495" y="29"/>
                  </a:lnTo>
                  <a:lnTo>
                    <a:pt x="502" y="30"/>
                  </a:lnTo>
                  <a:lnTo>
                    <a:pt x="500" y="37"/>
                  </a:lnTo>
                  <a:lnTo>
                    <a:pt x="496" y="36"/>
                  </a:lnTo>
                  <a:lnTo>
                    <a:pt x="491" y="34"/>
                  </a:lnTo>
                  <a:lnTo>
                    <a:pt x="486" y="34"/>
                  </a:lnTo>
                  <a:lnTo>
                    <a:pt x="482" y="34"/>
                  </a:lnTo>
                  <a:lnTo>
                    <a:pt x="478" y="36"/>
                  </a:lnTo>
                  <a:lnTo>
                    <a:pt x="475" y="37"/>
                  </a:lnTo>
                  <a:lnTo>
                    <a:pt x="474" y="40"/>
                  </a:lnTo>
                  <a:lnTo>
                    <a:pt x="474" y="44"/>
                  </a:lnTo>
                  <a:lnTo>
                    <a:pt x="475" y="48"/>
                  </a:lnTo>
                  <a:lnTo>
                    <a:pt x="481" y="52"/>
                  </a:lnTo>
                  <a:lnTo>
                    <a:pt x="489" y="55"/>
                  </a:lnTo>
                  <a:lnTo>
                    <a:pt x="496" y="59"/>
                  </a:lnTo>
                  <a:lnTo>
                    <a:pt x="502" y="66"/>
                  </a:lnTo>
                  <a:lnTo>
                    <a:pt x="503" y="74"/>
                  </a:lnTo>
                  <a:lnTo>
                    <a:pt x="503" y="78"/>
                  </a:lnTo>
                  <a:lnTo>
                    <a:pt x="502" y="82"/>
                  </a:lnTo>
                  <a:lnTo>
                    <a:pt x="497" y="86"/>
                  </a:lnTo>
                  <a:lnTo>
                    <a:pt x="495" y="88"/>
                  </a:lnTo>
                  <a:lnTo>
                    <a:pt x="491" y="89"/>
                  </a:lnTo>
                  <a:lnTo>
                    <a:pt x="486" y="91"/>
                  </a:lnTo>
                  <a:lnTo>
                    <a:pt x="482" y="91"/>
                  </a:lnTo>
                  <a:lnTo>
                    <a:pt x="477" y="91"/>
                  </a:lnTo>
                  <a:lnTo>
                    <a:pt x="471" y="89"/>
                  </a:lnTo>
                  <a:lnTo>
                    <a:pt x="466" y="88"/>
                  </a:lnTo>
                  <a:lnTo>
                    <a:pt x="466" y="81"/>
                  </a:lnTo>
                  <a:lnTo>
                    <a:pt x="471" y="82"/>
                  </a:lnTo>
                  <a:lnTo>
                    <a:pt x="477" y="84"/>
                  </a:lnTo>
                  <a:lnTo>
                    <a:pt x="482" y="85"/>
                  </a:lnTo>
                  <a:lnTo>
                    <a:pt x="486" y="84"/>
                  </a:lnTo>
                  <a:lnTo>
                    <a:pt x="489" y="82"/>
                  </a:lnTo>
                  <a:lnTo>
                    <a:pt x="493" y="81"/>
                  </a:lnTo>
                  <a:lnTo>
                    <a:pt x="495" y="77"/>
                  </a:lnTo>
                  <a:lnTo>
                    <a:pt x="495" y="74"/>
                  </a:lnTo>
                  <a:lnTo>
                    <a:pt x="493" y="67"/>
                  </a:lnTo>
                  <a:lnTo>
                    <a:pt x="488" y="63"/>
                  </a:lnTo>
                  <a:lnTo>
                    <a:pt x="481" y="60"/>
                  </a:lnTo>
                  <a:lnTo>
                    <a:pt x="474" y="56"/>
                  </a:lnTo>
                  <a:lnTo>
                    <a:pt x="469" y="51"/>
                  </a:lnTo>
                  <a:lnTo>
                    <a:pt x="466" y="44"/>
                  </a:lnTo>
                  <a:lnTo>
                    <a:pt x="467" y="40"/>
                  </a:lnTo>
                  <a:lnTo>
                    <a:pt x="469" y="36"/>
                  </a:lnTo>
                  <a:lnTo>
                    <a:pt x="471" y="33"/>
                  </a:lnTo>
                  <a:lnTo>
                    <a:pt x="474" y="30"/>
                  </a:lnTo>
                  <a:lnTo>
                    <a:pt x="478" y="29"/>
                  </a:lnTo>
                  <a:lnTo>
                    <a:pt x="482" y="27"/>
                  </a:lnTo>
                  <a:lnTo>
                    <a:pt x="486" y="27"/>
                  </a:lnTo>
                  <a:close/>
                  <a:moveTo>
                    <a:pt x="431" y="27"/>
                  </a:moveTo>
                  <a:lnTo>
                    <a:pt x="444" y="30"/>
                  </a:lnTo>
                  <a:lnTo>
                    <a:pt x="451" y="37"/>
                  </a:lnTo>
                  <a:lnTo>
                    <a:pt x="453" y="49"/>
                  </a:lnTo>
                  <a:lnTo>
                    <a:pt x="453" y="77"/>
                  </a:lnTo>
                  <a:lnTo>
                    <a:pt x="453" y="84"/>
                  </a:lnTo>
                  <a:lnTo>
                    <a:pt x="453" y="89"/>
                  </a:lnTo>
                  <a:lnTo>
                    <a:pt x="447" y="89"/>
                  </a:lnTo>
                  <a:lnTo>
                    <a:pt x="447" y="80"/>
                  </a:lnTo>
                  <a:lnTo>
                    <a:pt x="445" y="80"/>
                  </a:lnTo>
                  <a:lnTo>
                    <a:pt x="444" y="84"/>
                  </a:lnTo>
                  <a:lnTo>
                    <a:pt x="440" y="86"/>
                  </a:lnTo>
                  <a:lnTo>
                    <a:pt x="436" y="89"/>
                  </a:lnTo>
                  <a:lnTo>
                    <a:pt x="431" y="91"/>
                  </a:lnTo>
                  <a:lnTo>
                    <a:pt x="426" y="91"/>
                  </a:lnTo>
                  <a:lnTo>
                    <a:pt x="420" y="91"/>
                  </a:lnTo>
                  <a:lnTo>
                    <a:pt x="416" y="89"/>
                  </a:lnTo>
                  <a:lnTo>
                    <a:pt x="412" y="86"/>
                  </a:lnTo>
                  <a:lnTo>
                    <a:pt x="409" y="84"/>
                  </a:lnTo>
                  <a:lnTo>
                    <a:pt x="408" y="81"/>
                  </a:lnTo>
                  <a:lnTo>
                    <a:pt x="407" y="78"/>
                  </a:lnTo>
                  <a:lnTo>
                    <a:pt x="407" y="75"/>
                  </a:lnTo>
                  <a:lnTo>
                    <a:pt x="407" y="74"/>
                  </a:lnTo>
                  <a:lnTo>
                    <a:pt x="409" y="63"/>
                  </a:lnTo>
                  <a:lnTo>
                    <a:pt x="415" y="58"/>
                  </a:lnTo>
                  <a:lnTo>
                    <a:pt x="425" y="53"/>
                  </a:lnTo>
                  <a:lnTo>
                    <a:pt x="434" y="52"/>
                  </a:lnTo>
                  <a:lnTo>
                    <a:pt x="444" y="52"/>
                  </a:lnTo>
                  <a:lnTo>
                    <a:pt x="445" y="52"/>
                  </a:lnTo>
                  <a:lnTo>
                    <a:pt x="445" y="49"/>
                  </a:lnTo>
                  <a:lnTo>
                    <a:pt x="445" y="45"/>
                  </a:lnTo>
                  <a:lnTo>
                    <a:pt x="444" y="40"/>
                  </a:lnTo>
                  <a:lnTo>
                    <a:pt x="442" y="37"/>
                  </a:lnTo>
                  <a:lnTo>
                    <a:pt x="440" y="36"/>
                  </a:lnTo>
                  <a:lnTo>
                    <a:pt x="436" y="34"/>
                  </a:lnTo>
                  <a:lnTo>
                    <a:pt x="431" y="34"/>
                  </a:lnTo>
                  <a:lnTo>
                    <a:pt x="426" y="34"/>
                  </a:lnTo>
                  <a:lnTo>
                    <a:pt x="419" y="36"/>
                  </a:lnTo>
                  <a:lnTo>
                    <a:pt x="414" y="38"/>
                  </a:lnTo>
                  <a:lnTo>
                    <a:pt x="414" y="31"/>
                  </a:lnTo>
                  <a:lnTo>
                    <a:pt x="418" y="30"/>
                  </a:lnTo>
                  <a:lnTo>
                    <a:pt x="422" y="29"/>
                  </a:lnTo>
                  <a:lnTo>
                    <a:pt x="427" y="27"/>
                  </a:lnTo>
                  <a:lnTo>
                    <a:pt x="431" y="27"/>
                  </a:lnTo>
                  <a:close/>
                  <a:moveTo>
                    <a:pt x="367" y="27"/>
                  </a:moveTo>
                  <a:lnTo>
                    <a:pt x="372" y="27"/>
                  </a:lnTo>
                  <a:lnTo>
                    <a:pt x="376" y="29"/>
                  </a:lnTo>
                  <a:lnTo>
                    <a:pt x="381" y="31"/>
                  </a:lnTo>
                  <a:lnTo>
                    <a:pt x="385" y="36"/>
                  </a:lnTo>
                  <a:lnTo>
                    <a:pt x="386" y="36"/>
                  </a:lnTo>
                  <a:lnTo>
                    <a:pt x="386" y="29"/>
                  </a:lnTo>
                  <a:lnTo>
                    <a:pt x="393" y="29"/>
                  </a:lnTo>
                  <a:lnTo>
                    <a:pt x="393" y="85"/>
                  </a:lnTo>
                  <a:lnTo>
                    <a:pt x="392" y="96"/>
                  </a:lnTo>
                  <a:lnTo>
                    <a:pt x="386" y="106"/>
                  </a:lnTo>
                  <a:lnTo>
                    <a:pt x="378" y="113"/>
                  </a:lnTo>
                  <a:lnTo>
                    <a:pt x="364" y="115"/>
                  </a:lnTo>
                  <a:lnTo>
                    <a:pt x="359" y="115"/>
                  </a:lnTo>
                  <a:lnTo>
                    <a:pt x="353" y="114"/>
                  </a:lnTo>
                  <a:lnTo>
                    <a:pt x="349" y="113"/>
                  </a:lnTo>
                  <a:lnTo>
                    <a:pt x="346" y="113"/>
                  </a:lnTo>
                  <a:lnTo>
                    <a:pt x="346" y="104"/>
                  </a:lnTo>
                  <a:lnTo>
                    <a:pt x="352" y="107"/>
                  </a:lnTo>
                  <a:lnTo>
                    <a:pt x="359" y="108"/>
                  </a:lnTo>
                  <a:lnTo>
                    <a:pt x="364" y="108"/>
                  </a:lnTo>
                  <a:lnTo>
                    <a:pt x="374" y="107"/>
                  </a:lnTo>
                  <a:lnTo>
                    <a:pt x="381" y="103"/>
                  </a:lnTo>
                  <a:lnTo>
                    <a:pt x="383" y="96"/>
                  </a:lnTo>
                  <a:lnTo>
                    <a:pt x="385" y="88"/>
                  </a:lnTo>
                  <a:lnTo>
                    <a:pt x="386" y="78"/>
                  </a:lnTo>
                  <a:lnTo>
                    <a:pt x="386" y="78"/>
                  </a:lnTo>
                  <a:lnTo>
                    <a:pt x="383" y="82"/>
                  </a:lnTo>
                  <a:lnTo>
                    <a:pt x="379" y="85"/>
                  </a:lnTo>
                  <a:lnTo>
                    <a:pt x="375" y="88"/>
                  </a:lnTo>
                  <a:lnTo>
                    <a:pt x="371" y="89"/>
                  </a:lnTo>
                  <a:lnTo>
                    <a:pt x="367" y="89"/>
                  </a:lnTo>
                  <a:lnTo>
                    <a:pt x="357" y="88"/>
                  </a:lnTo>
                  <a:lnTo>
                    <a:pt x="349" y="82"/>
                  </a:lnTo>
                  <a:lnTo>
                    <a:pt x="345" y="75"/>
                  </a:lnTo>
                  <a:lnTo>
                    <a:pt x="342" y="67"/>
                  </a:lnTo>
                  <a:lnTo>
                    <a:pt x="342" y="59"/>
                  </a:lnTo>
                  <a:lnTo>
                    <a:pt x="343" y="47"/>
                  </a:lnTo>
                  <a:lnTo>
                    <a:pt x="348" y="36"/>
                  </a:lnTo>
                  <a:lnTo>
                    <a:pt x="354" y="30"/>
                  </a:lnTo>
                  <a:lnTo>
                    <a:pt x="367" y="27"/>
                  </a:lnTo>
                  <a:close/>
                  <a:moveTo>
                    <a:pt x="264" y="27"/>
                  </a:moveTo>
                  <a:lnTo>
                    <a:pt x="266" y="27"/>
                  </a:lnTo>
                  <a:lnTo>
                    <a:pt x="269" y="27"/>
                  </a:lnTo>
                  <a:lnTo>
                    <a:pt x="269" y="36"/>
                  </a:lnTo>
                  <a:lnTo>
                    <a:pt x="266" y="36"/>
                  </a:lnTo>
                  <a:lnTo>
                    <a:pt x="264" y="36"/>
                  </a:lnTo>
                  <a:lnTo>
                    <a:pt x="257" y="37"/>
                  </a:lnTo>
                  <a:lnTo>
                    <a:pt x="251" y="44"/>
                  </a:lnTo>
                  <a:lnTo>
                    <a:pt x="250" y="51"/>
                  </a:lnTo>
                  <a:lnTo>
                    <a:pt x="249" y="59"/>
                  </a:lnTo>
                  <a:lnTo>
                    <a:pt x="249" y="89"/>
                  </a:lnTo>
                  <a:lnTo>
                    <a:pt x="242" y="89"/>
                  </a:lnTo>
                  <a:lnTo>
                    <a:pt x="242" y="42"/>
                  </a:lnTo>
                  <a:lnTo>
                    <a:pt x="242" y="38"/>
                  </a:lnTo>
                  <a:lnTo>
                    <a:pt x="242" y="34"/>
                  </a:lnTo>
                  <a:lnTo>
                    <a:pt x="242" y="31"/>
                  </a:lnTo>
                  <a:lnTo>
                    <a:pt x="240" y="29"/>
                  </a:lnTo>
                  <a:lnTo>
                    <a:pt x="249" y="29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50" y="37"/>
                  </a:lnTo>
                  <a:lnTo>
                    <a:pt x="253" y="33"/>
                  </a:lnTo>
                  <a:lnTo>
                    <a:pt x="255" y="30"/>
                  </a:lnTo>
                  <a:lnTo>
                    <a:pt x="260" y="27"/>
                  </a:lnTo>
                  <a:lnTo>
                    <a:pt x="264" y="27"/>
                  </a:lnTo>
                  <a:close/>
                  <a:moveTo>
                    <a:pt x="183" y="7"/>
                  </a:moveTo>
                  <a:lnTo>
                    <a:pt x="224" y="7"/>
                  </a:lnTo>
                  <a:lnTo>
                    <a:pt x="224" y="14"/>
                  </a:lnTo>
                  <a:lnTo>
                    <a:pt x="191" y="14"/>
                  </a:lnTo>
                  <a:lnTo>
                    <a:pt x="191" y="42"/>
                  </a:lnTo>
                  <a:lnTo>
                    <a:pt x="221" y="42"/>
                  </a:lnTo>
                  <a:lnTo>
                    <a:pt x="221" y="51"/>
                  </a:lnTo>
                  <a:lnTo>
                    <a:pt x="191" y="51"/>
                  </a:lnTo>
                  <a:lnTo>
                    <a:pt x="191" y="82"/>
                  </a:lnTo>
                  <a:lnTo>
                    <a:pt x="225" y="82"/>
                  </a:lnTo>
                  <a:lnTo>
                    <a:pt x="225" y="89"/>
                  </a:lnTo>
                  <a:lnTo>
                    <a:pt x="183" y="89"/>
                  </a:lnTo>
                  <a:lnTo>
                    <a:pt x="183" y="7"/>
                  </a:lnTo>
                  <a:close/>
                  <a:moveTo>
                    <a:pt x="0" y="7"/>
                  </a:moveTo>
                  <a:lnTo>
                    <a:pt x="12" y="7"/>
                  </a:lnTo>
                  <a:lnTo>
                    <a:pt x="42" y="80"/>
                  </a:lnTo>
                  <a:lnTo>
                    <a:pt x="73" y="7"/>
                  </a:lnTo>
                  <a:lnTo>
                    <a:pt x="85" y="7"/>
                  </a:lnTo>
                  <a:lnTo>
                    <a:pt x="85" y="89"/>
                  </a:lnTo>
                  <a:lnTo>
                    <a:pt x="77" y="89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45" y="89"/>
                  </a:lnTo>
                  <a:lnTo>
                    <a:pt x="38" y="89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89"/>
                  </a:lnTo>
                  <a:lnTo>
                    <a:pt x="0" y="89"/>
                  </a:lnTo>
                  <a:lnTo>
                    <a:pt x="0" y="7"/>
                  </a:lnTo>
                  <a:close/>
                  <a:moveTo>
                    <a:pt x="152" y="5"/>
                  </a:moveTo>
                  <a:lnTo>
                    <a:pt x="161" y="5"/>
                  </a:lnTo>
                  <a:lnTo>
                    <a:pt x="114" y="91"/>
                  </a:lnTo>
                  <a:lnTo>
                    <a:pt x="106" y="91"/>
                  </a:lnTo>
                  <a:lnTo>
                    <a:pt x="152" y="5"/>
                  </a:lnTo>
                  <a:close/>
                  <a:moveTo>
                    <a:pt x="319" y="0"/>
                  </a:moveTo>
                  <a:lnTo>
                    <a:pt x="327" y="0"/>
                  </a:lnTo>
                  <a:lnTo>
                    <a:pt x="327" y="89"/>
                  </a:lnTo>
                  <a:lnTo>
                    <a:pt x="319" y="89"/>
                  </a:lnTo>
                  <a:lnTo>
                    <a:pt x="319" y="80"/>
                  </a:lnTo>
                  <a:lnTo>
                    <a:pt x="319" y="80"/>
                  </a:lnTo>
                  <a:lnTo>
                    <a:pt x="316" y="85"/>
                  </a:lnTo>
                  <a:lnTo>
                    <a:pt x="312" y="88"/>
                  </a:lnTo>
                  <a:lnTo>
                    <a:pt x="306" y="91"/>
                  </a:lnTo>
                  <a:lnTo>
                    <a:pt x="301" y="91"/>
                  </a:lnTo>
                  <a:lnTo>
                    <a:pt x="290" y="88"/>
                  </a:lnTo>
                  <a:lnTo>
                    <a:pt x="282" y="82"/>
                  </a:lnTo>
                  <a:lnTo>
                    <a:pt x="277" y="71"/>
                  </a:lnTo>
                  <a:lnTo>
                    <a:pt x="275" y="59"/>
                  </a:lnTo>
                  <a:lnTo>
                    <a:pt x="276" y="47"/>
                  </a:lnTo>
                  <a:lnTo>
                    <a:pt x="282" y="36"/>
                  </a:lnTo>
                  <a:lnTo>
                    <a:pt x="288" y="30"/>
                  </a:lnTo>
                  <a:lnTo>
                    <a:pt x="301" y="27"/>
                  </a:lnTo>
                  <a:lnTo>
                    <a:pt x="306" y="27"/>
                  </a:lnTo>
                  <a:lnTo>
                    <a:pt x="310" y="30"/>
                  </a:lnTo>
                  <a:lnTo>
                    <a:pt x="313" y="31"/>
                  </a:lnTo>
                  <a:lnTo>
                    <a:pt x="316" y="34"/>
                  </a:lnTo>
                  <a:lnTo>
                    <a:pt x="319" y="37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39"/>
            <p:cNvSpPr>
              <a:spLocks noEditPoints="1"/>
            </p:cNvSpPr>
            <p:nvPr userDrawn="1"/>
          </p:nvSpPr>
          <p:spPr bwMode="auto">
            <a:xfrm>
              <a:off x="4123690" y="6142701"/>
              <a:ext cx="357891" cy="91331"/>
            </a:xfrm>
            <a:custGeom>
              <a:avLst/>
              <a:gdLst>
                <a:gd name="T0" fmla="*/ 266 w 337"/>
                <a:gd name="T1" fmla="*/ 29 h 86"/>
                <a:gd name="T2" fmla="*/ 259 w 337"/>
                <a:gd name="T3" fmla="*/ 35 h 86"/>
                <a:gd name="T4" fmla="*/ 255 w 337"/>
                <a:gd name="T5" fmla="*/ 44 h 86"/>
                <a:gd name="T6" fmla="*/ 286 w 337"/>
                <a:gd name="T7" fmla="*/ 50 h 86"/>
                <a:gd name="T8" fmla="*/ 286 w 337"/>
                <a:gd name="T9" fmla="*/ 42 h 86"/>
                <a:gd name="T10" fmla="*/ 282 w 337"/>
                <a:gd name="T11" fmla="*/ 33 h 86"/>
                <a:gd name="T12" fmla="*/ 275 w 337"/>
                <a:gd name="T13" fmla="*/ 29 h 86"/>
                <a:gd name="T14" fmla="*/ 271 w 337"/>
                <a:gd name="T15" fmla="*/ 22 h 86"/>
                <a:gd name="T16" fmla="*/ 289 w 337"/>
                <a:gd name="T17" fmla="*/ 31 h 86"/>
                <a:gd name="T18" fmla="*/ 294 w 337"/>
                <a:gd name="T19" fmla="*/ 53 h 86"/>
                <a:gd name="T20" fmla="*/ 253 w 337"/>
                <a:gd name="T21" fmla="*/ 57 h 86"/>
                <a:gd name="T22" fmla="*/ 259 w 337"/>
                <a:gd name="T23" fmla="*/ 73 h 86"/>
                <a:gd name="T24" fmla="*/ 274 w 337"/>
                <a:gd name="T25" fmla="*/ 80 h 86"/>
                <a:gd name="T26" fmla="*/ 282 w 337"/>
                <a:gd name="T27" fmla="*/ 77 h 86"/>
                <a:gd name="T28" fmla="*/ 290 w 337"/>
                <a:gd name="T29" fmla="*/ 75 h 86"/>
                <a:gd name="T30" fmla="*/ 285 w 337"/>
                <a:gd name="T31" fmla="*/ 84 h 86"/>
                <a:gd name="T32" fmla="*/ 273 w 337"/>
                <a:gd name="T33" fmla="*/ 86 h 86"/>
                <a:gd name="T34" fmla="*/ 252 w 337"/>
                <a:gd name="T35" fmla="*/ 77 h 86"/>
                <a:gd name="T36" fmla="*/ 245 w 337"/>
                <a:gd name="T37" fmla="*/ 54 h 86"/>
                <a:gd name="T38" fmla="*/ 252 w 337"/>
                <a:gd name="T39" fmla="*/ 31 h 86"/>
                <a:gd name="T40" fmla="*/ 271 w 337"/>
                <a:gd name="T41" fmla="*/ 22 h 86"/>
                <a:gd name="T42" fmla="*/ 220 w 337"/>
                <a:gd name="T43" fmla="*/ 24 h 86"/>
                <a:gd name="T44" fmla="*/ 230 w 337"/>
                <a:gd name="T45" fmla="*/ 36 h 86"/>
                <a:gd name="T46" fmla="*/ 231 w 337"/>
                <a:gd name="T47" fmla="*/ 84 h 86"/>
                <a:gd name="T48" fmla="*/ 223 w 337"/>
                <a:gd name="T49" fmla="*/ 47 h 86"/>
                <a:gd name="T50" fmla="*/ 222 w 337"/>
                <a:gd name="T51" fmla="*/ 37 h 86"/>
                <a:gd name="T52" fmla="*/ 218 w 337"/>
                <a:gd name="T53" fmla="*/ 31 h 86"/>
                <a:gd name="T54" fmla="*/ 209 w 337"/>
                <a:gd name="T55" fmla="*/ 29 h 86"/>
                <a:gd name="T56" fmla="*/ 196 w 337"/>
                <a:gd name="T57" fmla="*/ 35 h 86"/>
                <a:gd name="T58" fmla="*/ 191 w 337"/>
                <a:gd name="T59" fmla="*/ 51 h 86"/>
                <a:gd name="T60" fmla="*/ 183 w 337"/>
                <a:gd name="T61" fmla="*/ 84 h 86"/>
                <a:gd name="T62" fmla="*/ 183 w 337"/>
                <a:gd name="T63" fmla="*/ 31 h 86"/>
                <a:gd name="T64" fmla="*/ 190 w 337"/>
                <a:gd name="T65" fmla="*/ 24 h 86"/>
                <a:gd name="T66" fmla="*/ 190 w 337"/>
                <a:gd name="T67" fmla="*/ 35 h 86"/>
                <a:gd name="T68" fmla="*/ 194 w 337"/>
                <a:gd name="T69" fmla="*/ 29 h 86"/>
                <a:gd name="T70" fmla="*/ 200 w 337"/>
                <a:gd name="T71" fmla="*/ 24 h 86"/>
                <a:gd name="T72" fmla="*/ 211 w 337"/>
                <a:gd name="T73" fmla="*/ 22 h 86"/>
                <a:gd name="T74" fmla="*/ 322 w 337"/>
                <a:gd name="T75" fmla="*/ 24 h 86"/>
                <a:gd name="T76" fmla="*/ 336 w 337"/>
                <a:gd name="T77" fmla="*/ 31 h 86"/>
                <a:gd name="T78" fmla="*/ 322 w 337"/>
                <a:gd name="T79" fmla="*/ 69 h 86"/>
                <a:gd name="T80" fmla="*/ 323 w 337"/>
                <a:gd name="T81" fmla="*/ 76 h 86"/>
                <a:gd name="T82" fmla="*/ 326 w 337"/>
                <a:gd name="T83" fmla="*/ 79 h 86"/>
                <a:gd name="T84" fmla="*/ 333 w 337"/>
                <a:gd name="T85" fmla="*/ 79 h 86"/>
                <a:gd name="T86" fmla="*/ 337 w 337"/>
                <a:gd name="T87" fmla="*/ 84 h 86"/>
                <a:gd name="T88" fmla="*/ 332 w 337"/>
                <a:gd name="T89" fmla="*/ 86 h 86"/>
                <a:gd name="T90" fmla="*/ 323 w 337"/>
                <a:gd name="T91" fmla="*/ 86 h 86"/>
                <a:gd name="T92" fmla="*/ 316 w 337"/>
                <a:gd name="T93" fmla="*/ 81 h 86"/>
                <a:gd name="T94" fmla="*/ 315 w 337"/>
                <a:gd name="T95" fmla="*/ 75 h 86"/>
                <a:gd name="T96" fmla="*/ 314 w 337"/>
                <a:gd name="T97" fmla="*/ 65 h 86"/>
                <a:gd name="T98" fmla="*/ 303 w 337"/>
                <a:gd name="T99" fmla="*/ 31 h 86"/>
                <a:gd name="T100" fmla="*/ 314 w 337"/>
                <a:gd name="T101" fmla="*/ 24 h 86"/>
                <a:gd name="T102" fmla="*/ 322 w 337"/>
                <a:gd name="T103" fmla="*/ 6 h 86"/>
                <a:gd name="T104" fmla="*/ 14 w 337"/>
                <a:gd name="T105" fmla="*/ 2 h 86"/>
                <a:gd name="T106" fmla="*/ 75 w 337"/>
                <a:gd name="T107" fmla="*/ 2 h 86"/>
                <a:gd name="T108" fmla="*/ 87 w 337"/>
                <a:gd name="T109" fmla="*/ 84 h 86"/>
                <a:gd name="T110" fmla="*/ 79 w 337"/>
                <a:gd name="T111" fmla="*/ 10 h 86"/>
                <a:gd name="T112" fmla="*/ 47 w 337"/>
                <a:gd name="T113" fmla="*/ 84 h 86"/>
                <a:gd name="T114" fmla="*/ 10 w 337"/>
                <a:gd name="T115" fmla="*/ 10 h 86"/>
                <a:gd name="T116" fmla="*/ 9 w 337"/>
                <a:gd name="T117" fmla="*/ 84 h 86"/>
                <a:gd name="T118" fmla="*/ 0 w 337"/>
                <a:gd name="T119" fmla="*/ 2 h 86"/>
                <a:gd name="T120" fmla="*/ 163 w 337"/>
                <a:gd name="T121" fmla="*/ 0 h 86"/>
                <a:gd name="T122" fmla="*/ 108 w 337"/>
                <a:gd name="T12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" h="86">
                  <a:moveTo>
                    <a:pt x="271" y="29"/>
                  </a:moveTo>
                  <a:lnTo>
                    <a:pt x="266" y="29"/>
                  </a:lnTo>
                  <a:lnTo>
                    <a:pt x="262" y="32"/>
                  </a:lnTo>
                  <a:lnTo>
                    <a:pt x="259" y="35"/>
                  </a:lnTo>
                  <a:lnTo>
                    <a:pt x="256" y="40"/>
                  </a:lnTo>
                  <a:lnTo>
                    <a:pt x="255" y="44"/>
                  </a:lnTo>
                  <a:lnTo>
                    <a:pt x="253" y="50"/>
                  </a:lnTo>
                  <a:lnTo>
                    <a:pt x="286" y="50"/>
                  </a:lnTo>
                  <a:lnTo>
                    <a:pt x="286" y="46"/>
                  </a:lnTo>
                  <a:lnTo>
                    <a:pt x="286" y="42"/>
                  </a:lnTo>
                  <a:lnTo>
                    <a:pt x="285" y="37"/>
                  </a:lnTo>
                  <a:lnTo>
                    <a:pt x="282" y="33"/>
                  </a:lnTo>
                  <a:lnTo>
                    <a:pt x="279" y="31"/>
                  </a:lnTo>
                  <a:lnTo>
                    <a:pt x="275" y="29"/>
                  </a:lnTo>
                  <a:lnTo>
                    <a:pt x="271" y="29"/>
                  </a:lnTo>
                  <a:close/>
                  <a:moveTo>
                    <a:pt x="271" y="22"/>
                  </a:moveTo>
                  <a:lnTo>
                    <a:pt x="282" y="25"/>
                  </a:lnTo>
                  <a:lnTo>
                    <a:pt x="289" y="31"/>
                  </a:lnTo>
                  <a:lnTo>
                    <a:pt x="293" y="40"/>
                  </a:lnTo>
                  <a:lnTo>
                    <a:pt x="294" y="53"/>
                  </a:lnTo>
                  <a:lnTo>
                    <a:pt x="294" y="57"/>
                  </a:lnTo>
                  <a:lnTo>
                    <a:pt x="253" y="57"/>
                  </a:lnTo>
                  <a:lnTo>
                    <a:pt x="255" y="65"/>
                  </a:lnTo>
                  <a:lnTo>
                    <a:pt x="259" y="73"/>
                  </a:lnTo>
                  <a:lnTo>
                    <a:pt x="264" y="77"/>
                  </a:lnTo>
                  <a:lnTo>
                    <a:pt x="274" y="80"/>
                  </a:lnTo>
                  <a:lnTo>
                    <a:pt x="278" y="79"/>
                  </a:lnTo>
                  <a:lnTo>
                    <a:pt x="282" y="77"/>
                  </a:lnTo>
                  <a:lnTo>
                    <a:pt x="288" y="76"/>
                  </a:lnTo>
                  <a:lnTo>
                    <a:pt x="290" y="75"/>
                  </a:lnTo>
                  <a:lnTo>
                    <a:pt x="290" y="83"/>
                  </a:lnTo>
                  <a:lnTo>
                    <a:pt x="285" y="84"/>
                  </a:lnTo>
                  <a:lnTo>
                    <a:pt x="279" y="86"/>
                  </a:lnTo>
                  <a:lnTo>
                    <a:pt x="273" y="86"/>
                  </a:lnTo>
                  <a:lnTo>
                    <a:pt x="260" y="83"/>
                  </a:lnTo>
                  <a:lnTo>
                    <a:pt x="252" y="77"/>
                  </a:lnTo>
                  <a:lnTo>
                    <a:pt x="246" y="66"/>
                  </a:lnTo>
                  <a:lnTo>
                    <a:pt x="245" y="54"/>
                  </a:lnTo>
                  <a:lnTo>
                    <a:pt x="248" y="42"/>
                  </a:lnTo>
                  <a:lnTo>
                    <a:pt x="252" y="31"/>
                  </a:lnTo>
                  <a:lnTo>
                    <a:pt x="260" y="25"/>
                  </a:lnTo>
                  <a:lnTo>
                    <a:pt x="271" y="22"/>
                  </a:lnTo>
                  <a:close/>
                  <a:moveTo>
                    <a:pt x="211" y="22"/>
                  </a:moveTo>
                  <a:lnTo>
                    <a:pt x="220" y="24"/>
                  </a:lnTo>
                  <a:lnTo>
                    <a:pt x="226" y="29"/>
                  </a:lnTo>
                  <a:lnTo>
                    <a:pt x="230" y="36"/>
                  </a:lnTo>
                  <a:lnTo>
                    <a:pt x="231" y="46"/>
                  </a:lnTo>
                  <a:lnTo>
                    <a:pt x="231" y="84"/>
                  </a:lnTo>
                  <a:lnTo>
                    <a:pt x="223" y="84"/>
                  </a:lnTo>
                  <a:lnTo>
                    <a:pt x="223" y="47"/>
                  </a:lnTo>
                  <a:lnTo>
                    <a:pt x="223" y="42"/>
                  </a:lnTo>
                  <a:lnTo>
                    <a:pt x="222" y="37"/>
                  </a:lnTo>
                  <a:lnTo>
                    <a:pt x="220" y="33"/>
                  </a:lnTo>
                  <a:lnTo>
                    <a:pt x="218" y="31"/>
                  </a:lnTo>
                  <a:lnTo>
                    <a:pt x="213" y="29"/>
                  </a:lnTo>
                  <a:lnTo>
                    <a:pt x="209" y="29"/>
                  </a:lnTo>
                  <a:lnTo>
                    <a:pt x="201" y="31"/>
                  </a:lnTo>
                  <a:lnTo>
                    <a:pt x="196" y="35"/>
                  </a:lnTo>
                  <a:lnTo>
                    <a:pt x="191" y="43"/>
                  </a:lnTo>
                  <a:lnTo>
                    <a:pt x="191" y="51"/>
                  </a:lnTo>
                  <a:lnTo>
                    <a:pt x="191" y="84"/>
                  </a:lnTo>
                  <a:lnTo>
                    <a:pt x="183" y="84"/>
                  </a:lnTo>
                  <a:lnTo>
                    <a:pt x="183" y="37"/>
                  </a:lnTo>
                  <a:lnTo>
                    <a:pt x="183" y="31"/>
                  </a:lnTo>
                  <a:lnTo>
                    <a:pt x="183" y="24"/>
                  </a:lnTo>
                  <a:lnTo>
                    <a:pt x="190" y="24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3" y="32"/>
                  </a:lnTo>
                  <a:lnTo>
                    <a:pt x="194" y="29"/>
                  </a:lnTo>
                  <a:lnTo>
                    <a:pt x="197" y="26"/>
                  </a:lnTo>
                  <a:lnTo>
                    <a:pt x="200" y="24"/>
                  </a:lnTo>
                  <a:lnTo>
                    <a:pt x="205" y="22"/>
                  </a:lnTo>
                  <a:lnTo>
                    <a:pt x="211" y="22"/>
                  </a:lnTo>
                  <a:close/>
                  <a:moveTo>
                    <a:pt x="322" y="6"/>
                  </a:moveTo>
                  <a:lnTo>
                    <a:pt x="322" y="24"/>
                  </a:lnTo>
                  <a:lnTo>
                    <a:pt x="336" y="24"/>
                  </a:lnTo>
                  <a:lnTo>
                    <a:pt x="336" y="31"/>
                  </a:lnTo>
                  <a:lnTo>
                    <a:pt x="322" y="31"/>
                  </a:lnTo>
                  <a:lnTo>
                    <a:pt x="322" y="69"/>
                  </a:lnTo>
                  <a:lnTo>
                    <a:pt x="322" y="73"/>
                  </a:lnTo>
                  <a:lnTo>
                    <a:pt x="323" y="76"/>
                  </a:lnTo>
                  <a:lnTo>
                    <a:pt x="325" y="77"/>
                  </a:lnTo>
                  <a:lnTo>
                    <a:pt x="326" y="79"/>
                  </a:lnTo>
                  <a:lnTo>
                    <a:pt x="330" y="80"/>
                  </a:lnTo>
                  <a:lnTo>
                    <a:pt x="333" y="79"/>
                  </a:lnTo>
                  <a:lnTo>
                    <a:pt x="337" y="77"/>
                  </a:lnTo>
                  <a:lnTo>
                    <a:pt x="337" y="84"/>
                  </a:lnTo>
                  <a:lnTo>
                    <a:pt x="334" y="86"/>
                  </a:lnTo>
                  <a:lnTo>
                    <a:pt x="332" y="86"/>
                  </a:lnTo>
                  <a:lnTo>
                    <a:pt x="327" y="86"/>
                  </a:lnTo>
                  <a:lnTo>
                    <a:pt x="323" y="86"/>
                  </a:lnTo>
                  <a:lnTo>
                    <a:pt x="319" y="84"/>
                  </a:lnTo>
                  <a:lnTo>
                    <a:pt x="316" y="81"/>
                  </a:lnTo>
                  <a:lnTo>
                    <a:pt x="315" y="79"/>
                  </a:lnTo>
                  <a:lnTo>
                    <a:pt x="315" y="75"/>
                  </a:lnTo>
                  <a:lnTo>
                    <a:pt x="314" y="70"/>
                  </a:lnTo>
                  <a:lnTo>
                    <a:pt x="314" y="65"/>
                  </a:lnTo>
                  <a:lnTo>
                    <a:pt x="314" y="31"/>
                  </a:lnTo>
                  <a:lnTo>
                    <a:pt x="303" y="31"/>
                  </a:lnTo>
                  <a:lnTo>
                    <a:pt x="303" y="24"/>
                  </a:lnTo>
                  <a:lnTo>
                    <a:pt x="314" y="24"/>
                  </a:lnTo>
                  <a:lnTo>
                    <a:pt x="314" y="9"/>
                  </a:lnTo>
                  <a:lnTo>
                    <a:pt x="322" y="6"/>
                  </a:lnTo>
                  <a:close/>
                  <a:moveTo>
                    <a:pt x="0" y="2"/>
                  </a:moveTo>
                  <a:lnTo>
                    <a:pt x="14" y="2"/>
                  </a:lnTo>
                  <a:lnTo>
                    <a:pt x="44" y="75"/>
                  </a:lnTo>
                  <a:lnTo>
                    <a:pt x="75" y="2"/>
                  </a:lnTo>
                  <a:lnTo>
                    <a:pt x="87" y="2"/>
                  </a:lnTo>
                  <a:lnTo>
                    <a:pt x="87" y="84"/>
                  </a:lnTo>
                  <a:lnTo>
                    <a:pt x="79" y="84"/>
                  </a:lnTo>
                  <a:lnTo>
                    <a:pt x="79" y="10"/>
                  </a:lnTo>
                  <a:lnTo>
                    <a:pt x="77" y="10"/>
                  </a:lnTo>
                  <a:lnTo>
                    <a:pt x="47" y="84"/>
                  </a:lnTo>
                  <a:lnTo>
                    <a:pt x="40" y="84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2"/>
                  </a:lnTo>
                  <a:close/>
                  <a:moveTo>
                    <a:pt x="154" y="0"/>
                  </a:moveTo>
                  <a:lnTo>
                    <a:pt x="163" y="0"/>
                  </a:lnTo>
                  <a:lnTo>
                    <a:pt x="116" y="86"/>
                  </a:lnTo>
                  <a:lnTo>
                    <a:pt x="108" y="86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6926263" y="293688"/>
            <a:ext cx="1863725" cy="347663"/>
            <a:chOff x="6926263" y="295276"/>
            <a:chExt cx="1863725" cy="347663"/>
          </a:xfrm>
        </p:grpSpPr>
        <p:sp>
          <p:nvSpPr>
            <p:cNvPr id="43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73" name="Rechteck 72"/>
          <p:cNvSpPr/>
          <p:nvPr/>
        </p:nvSpPr>
        <p:spPr bwMode="auto">
          <a:xfrm>
            <a:off x="-843340" y="3303587"/>
            <a:ext cx="748800" cy="373063"/>
          </a:xfrm>
          <a:prstGeom prst="rect">
            <a:avLst/>
          </a:prstGeom>
          <a:solidFill>
            <a:srgbClr val="7387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anchor="ctr"/>
          <a:lstStyle/>
          <a:p>
            <a:pPr algn="l">
              <a:defRPr/>
            </a:pPr>
            <a:r>
              <a:rPr lang="de-DE" sz="800" b="1" i="0" dirty="0" smtClean="0">
                <a:latin typeface="Arial" pitchFamily="34" charset="0"/>
                <a:cs typeface="Arial" pitchFamily="34" charset="0"/>
              </a:rPr>
              <a:t>SWM </a:t>
            </a:r>
            <a:r>
              <a:rPr lang="de-DE" sz="800" b="1" dirty="0" smtClean="0">
                <a:latin typeface="Arial" pitchFamily="34" charset="0"/>
                <a:cs typeface="Arial" pitchFamily="34" charset="0"/>
              </a:rPr>
              <a:t>intern</a:t>
            </a:r>
            <a:endParaRPr lang="de-DE" sz="800" b="1" i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Rechteck 73"/>
          <p:cNvSpPr/>
          <p:nvPr/>
        </p:nvSpPr>
        <p:spPr bwMode="auto">
          <a:xfrm>
            <a:off x="-843339" y="4249843"/>
            <a:ext cx="749300" cy="373063"/>
          </a:xfrm>
          <a:prstGeom prst="rect">
            <a:avLst/>
          </a:prstGeom>
          <a:solidFill>
            <a:srgbClr val="7387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anchor="ctr"/>
          <a:lstStyle/>
          <a:p>
            <a:pPr algn="l">
              <a:defRPr/>
            </a:pPr>
            <a:r>
              <a:rPr lang="de-DE" sz="800" b="1" i="0" dirty="0" smtClean="0">
                <a:latin typeface="Arial" pitchFamily="34" charset="0"/>
                <a:cs typeface="Arial" pitchFamily="34" charset="0"/>
              </a:rPr>
              <a:t>Vertraulich</a:t>
            </a:r>
            <a:endParaRPr lang="de-DE" sz="800" b="1" i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hteck 74"/>
          <p:cNvSpPr/>
          <p:nvPr/>
        </p:nvSpPr>
        <p:spPr bwMode="auto">
          <a:xfrm>
            <a:off x="-843339" y="3776715"/>
            <a:ext cx="749300" cy="373063"/>
          </a:xfrm>
          <a:prstGeom prst="rect">
            <a:avLst/>
          </a:prstGeom>
          <a:solidFill>
            <a:srgbClr val="7387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anchor="ctr"/>
          <a:lstStyle/>
          <a:p>
            <a:pPr algn="l">
              <a:defRPr/>
            </a:pPr>
            <a:r>
              <a:rPr lang="de-DE" sz="800" b="1" i="0" dirty="0" smtClean="0">
                <a:latin typeface="Arial" pitchFamily="34" charset="0"/>
                <a:cs typeface="Arial" pitchFamily="34" charset="0"/>
              </a:rPr>
              <a:t>Öffentlich</a:t>
            </a:r>
            <a:endParaRPr lang="de-DE" sz="800" b="1" i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Rechteck 75"/>
          <p:cNvSpPr/>
          <p:nvPr/>
        </p:nvSpPr>
        <p:spPr bwMode="auto">
          <a:xfrm>
            <a:off x="-843340" y="4722972"/>
            <a:ext cx="748800" cy="373063"/>
          </a:xfrm>
          <a:prstGeom prst="rect">
            <a:avLst/>
          </a:prstGeom>
          <a:solidFill>
            <a:srgbClr val="7387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anchor="ctr"/>
          <a:lstStyle/>
          <a:p>
            <a:pPr algn="l">
              <a:defRPr/>
            </a:pPr>
            <a:r>
              <a:rPr lang="de-DE" sz="800" b="1" i="0" dirty="0" smtClean="0">
                <a:latin typeface="Arial" pitchFamily="34" charset="0"/>
                <a:cs typeface="Arial" pitchFamily="34" charset="0"/>
              </a:rPr>
              <a:t>Streng</a:t>
            </a:r>
          </a:p>
          <a:p>
            <a:pPr algn="l">
              <a:defRPr/>
            </a:pPr>
            <a:r>
              <a:rPr lang="de-DE" sz="800" b="1" dirty="0" smtClean="0">
                <a:latin typeface="Arial" pitchFamily="34" charset="0"/>
                <a:cs typeface="Arial" pitchFamily="34" charset="0"/>
              </a:rPr>
              <a:t>vertraulich</a:t>
            </a:r>
            <a:endParaRPr lang="de-DE" sz="800" b="1" i="0" dirty="0">
              <a:latin typeface="Arial" pitchFamily="34" charset="0"/>
              <a:cs typeface="Arial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7216295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43387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Arial Narrow"/>
              <a:sym typeface="Arial Narrow"/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de-DE" dirty="0" smtClean="0"/>
              <a:t>1</a:t>
            </a:r>
            <a:r>
              <a:rPr lang="de-DE" dirty="0" smtClean="0"/>
              <a:t>. Anforderungen des Kunden</a:t>
            </a:r>
          </a:p>
          <a:p>
            <a:r>
              <a:rPr lang="de-DE" dirty="0" smtClean="0"/>
              <a:t>2.</a:t>
            </a:r>
            <a:r>
              <a:rPr lang="de-DE" dirty="0"/>
              <a:t> </a:t>
            </a:r>
            <a:r>
              <a:rPr lang="de-DE" smtClean="0"/>
              <a:t>Architektur </a:t>
            </a:r>
            <a:endParaRPr lang="de-DE" dirty="0" smtClean="0"/>
          </a:p>
          <a:p>
            <a:r>
              <a:rPr lang="de-DE" dirty="0"/>
              <a:t>3</a:t>
            </a:r>
            <a:r>
              <a:rPr lang="de-DE" dirty="0" smtClean="0"/>
              <a:t>. Verwendete Technologien</a:t>
            </a:r>
          </a:p>
          <a:p>
            <a:r>
              <a:rPr lang="de-DE" dirty="0" smtClean="0"/>
              <a:t>4. Live Vorführung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sübersicht</a:t>
            </a:r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3"/>
          </p:nvPr>
        </p:nvSpPr>
        <p:spPr>
          <a:xfrm>
            <a:off x="1977322" y="6509589"/>
            <a:ext cx="3117192" cy="153888"/>
          </a:xfrm>
        </p:spPr>
        <p:txBody>
          <a:bodyPr/>
          <a:lstStyle/>
          <a:p>
            <a:r>
              <a:rPr lang="en-US" dirty="0" smtClean="0"/>
              <a:t>/ </a:t>
            </a:r>
            <a:r>
              <a:rPr lang="en-US" dirty="0" err="1" smtClean="0"/>
              <a:t>Projektpräsentation</a:t>
            </a:r>
            <a:r>
              <a:rPr lang="en-US" dirty="0" smtClean="0"/>
              <a:t> M-Wetter/ </a:t>
            </a:r>
            <a:r>
              <a:rPr lang="en-US" dirty="0" err="1" smtClean="0"/>
              <a:t>Ausbildung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2"/>
          </p:nvPr>
        </p:nvSpPr>
        <p:spPr>
          <a:xfrm>
            <a:off x="930708" y="6515472"/>
            <a:ext cx="1002868" cy="153888"/>
          </a:xfrm>
        </p:spPr>
        <p:txBody>
          <a:bodyPr/>
          <a:lstStyle/>
          <a:p>
            <a:r>
              <a:rPr lang="de-DE" dirty="0" smtClean="0"/>
              <a:t>14.07.2017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>
          <a:xfrm>
            <a:off x="350838" y="6509589"/>
            <a:ext cx="548754" cy="159771"/>
          </a:xfrm>
        </p:spPr>
        <p:txBody>
          <a:bodyPr/>
          <a:lstStyle/>
          <a:p>
            <a:fld id="{5D5ECB39-EFE3-45BA-A65C-33A20752AD82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BainBulletsConfiguration" hidden="1"/>
          <p:cNvSpPr txBox="1"/>
          <p:nvPr/>
        </p:nvSpPr>
        <p:spPr bwMode="gray"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endParaRPr lang="de-DE" sz="100" dirty="0" err="1" smtClean="0">
              <a:solidFill>
                <a:srgbClr val="FFFFFF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1464607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89391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Arial Narrow"/>
              <a:sym typeface="Arial Narrow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forderungen des Kund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>
          <a:xfrm>
            <a:off x="350838" y="6509589"/>
            <a:ext cx="548754" cy="159771"/>
          </a:xfrm>
        </p:spPr>
        <p:txBody>
          <a:bodyPr/>
          <a:lstStyle/>
          <a:p>
            <a:fld id="{5D5ECB39-EFE3-45BA-A65C-33A20752AD82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2" name="BainBulletsConfiguration" hidden="1"/>
          <p:cNvSpPr txBox="1"/>
          <p:nvPr/>
        </p:nvSpPr>
        <p:spPr bwMode="gray"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endParaRPr lang="de-DE" sz="100" dirty="0" err="1" smtClean="0">
              <a:solidFill>
                <a:srgbClr val="FFFFFF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de-DE" dirty="0" smtClean="0"/>
              <a:t>„</a:t>
            </a:r>
            <a:r>
              <a:rPr lang="de-DE" dirty="0"/>
              <a:t>Erstellung einer Wetterstation als prototypische Anwendungsentwicklung mit Java Technologie</a:t>
            </a:r>
            <a:r>
              <a:rPr lang="de-DE" dirty="0" smtClean="0"/>
              <a:t>.“</a:t>
            </a:r>
          </a:p>
          <a:p>
            <a:endParaRPr lang="de-DE" dirty="0"/>
          </a:p>
          <a:p>
            <a:r>
              <a:rPr lang="de-DE" dirty="0" smtClean="0"/>
              <a:t>Anzeige von Wetterdaten</a:t>
            </a:r>
          </a:p>
          <a:p>
            <a:pPr lvl="1"/>
            <a:r>
              <a:rPr lang="de-DE" dirty="0" smtClean="0"/>
              <a:t>LCD Display</a:t>
            </a:r>
          </a:p>
          <a:p>
            <a:pPr lvl="1"/>
            <a:r>
              <a:rPr lang="de-DE" dirty="0" smtClean="0"/>
              <a:t>Desktop</a:t>
            </a:r>
          </a:p>
          <a:p>
            <a:r>
              <a:rPr lang="de-DE" dirty="0" smtClean="0"/>
              <a:t>Aktualisierung der Daten alle 5 Minuten</a:t>
            </a:r>
          </a:p>
          <a:p>
            <a:r>
              <a:rPr lang="de-DE" dirty="0" smtClean="0"/>
              <a:t>Temperaturverlauf des aktuellen Tages als Graph</a:t>
            </a:r>
          </a:p>
          <a:p>
            <a:endParaRPr lang="de-DE" dirty="0" smtClean="0"/>
          </a:p>
        </p:txBody>
      </p:sp>
      <p:sp>
        <p:nvSpPr>
          <p:cNvPr id="15" name="Datumsplatzhalter 10"/>
          <p:cNvSpPr>
            <a:spLocks noGrp="1"/>
          </p:cNvSpPr>
          <p:nvPr>
            <p:ph type="dt" sz="half" idx="12"/>
          </p:nvPr>
        </p:nvSpPr>
        <p:spPr>
          <a:xfrm>
            <a:off x="930708" y="6515472"/>
            <a:ext cx="1002868" cy="153888"/>
          </a:xfrm>
        </p:spPr>
        <p:txBody>
          <a:bodyPr/>
          <a:lstStyle/>
          <a:p>
            <a:r>
              <a:rPr lang="de-DE" dirty="0" smtClean="0"/>
              <a:t>14.07.2017</a:t>
            </a:r>
            <a:endParaRPr lang="en-US" dirty="0"/>
          </a:p>
        </p:txBody>
      </p:sp>
      <p:sp>
        <p:nvSpPr>
          <p:cNvPr id="17" name="Fußzeilenplatzhalter 11"/>
          <p:cNvSpPr>
            <a:spLocks noGrp="1"/>
          </p:cNvSpPr>
          <p:nvPr>
            <p:ph type="ftr" sz="quarter" idx="13"/>
          </p:nvPr>
        </p:nvSpPr>
        <p:spPr>
          <a:xfrm>
            <a:off x="1977322" y="6509589"/>
            <a:ext cx="3117192" cy="153888"/>
          </a:xfrm>
        </p:spPr>
        <p:txBody>
          <a:bodyPr/>
          <a:lstStyle/>
          <a:p>
            <a:r>
              <a:rPr lang="en-US" dirty="0" smtClean="0"/>
              <a:t>/ </a:t>
            </a:r>
            <a:r>
              <a:rPr lang="en-US" dirty="0" err="1" smtClean="0"/>
              <a:t>Projektpräsentation</a:t>
            </a:r>
            <a:r>
              <a:rPr lang="en-US" dirty="0" smtClean="0"/>
              <a:t> M-Wetter/ </a:t>
            </a:r>
            <a:r>
              <a:rPr lang="en-US" dirty="0" err="1" smtClean="0"/>
              <a:t>Ausbildung</a:t>
            </a:r>
            <a:endParaRPr lang="en-US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701471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81334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Arial Narrow"/>
              <a:sym typeface="Arial Narrow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rchitektu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>
          <a:xfrm>
            <a:off x="350838" y="6509589"/>
            <a:ext cx="548754" cy="159771"/>
          </a:xfrm>
        </p:spPr>
        <p:txBody>
          <a:bodyPr/>
          <a:lstStyle/>
          <a:p>
            <a:fld id="{5D5ECB39-EFE3-45BA-A65C-33A20752AD8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" name="BainBulletsConfiguration" hidden="1"/>
          <p:cNvSpPr txBox="1"/>
          <p:nvPr/>
        </p:nvSpPr>
        <p:spPr bwMode="gray"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endParaRPr lang="de-DE" sz="100" dirty="0" err="1" smtClean="0">
              <a:solidFill>
                <a:srgbClr val="FFFFFF"/>
              </a:solidFill>
            </a:endParaRPr>
          </a:p>
        </p:txBody>
      </p:sp>
      <p:sp>
        <p:nvSpPr>
          <p:cNvPr id="14" name="Datumsplatzhalter 10"/>
          <p:cNvSpPr>
            <a:spLocks noGrp="1"/>
          </p:cNvSpPr>
          <p:nvPr>
            <p:ph type="dt" sz="half" idx="12"/>
          </p:nvPr>
        </p:nvSpPr>
        <p:spPr>
          <a:xfrm>
            <a:off x="930708" y="6515472"/>
            <a:ext cx="1002868" cy="153888"/>
          </a:xfrm>
        </p:spPr>
        <p:txBody>
          <a:bodyPr/>
          <a:lstStyle/>
          <a:p>
            <a:r>
              <a:rPr lang="de-DE" dirty="0" smtClean="0"/>
              <a:t>14.07.2017</a:t>
            </a:r>
            <a:endParaRPr lang="en-US" dirty="0"/>
          </a:p>
        </p:txBody>
      </p:sp>
      <p:sp>
        <p:nvSpPr>
          <p:cNvPr id="15" name="Fußzeilenplatzhalter 11"/>
          <p:cNvSpPr>
            <a:spLocks noGrp="1"/>
          </p:cNvSpPr>
          <p:nvPr>
            <p:ph type="ftr" sz="quarter" idx="13"/>
          </p:nvPr>
        </p:nvSpPr>
        <p:spPr>
          <a:xfrm>
            <a:off x="1977322" y="6509589"/>
            <a:ext cx="3117192" cy="153888"/>
          </a:xfrm>
        </p:spPr>
        <p:txBody>
          <a:bodyPr/>
          <a:lstStyle/>
          <a:p>
            <a:r>
              <a:rPr lang="en-US" dirty="0" smtClean="0"/>
              <a:t>/ </a:t>
            </a:r>
            <a:r>
              <a:rPr lang="en-US" dirty="0" err="1" smtClean="0"/>
              <a:t>Projektpräsentation</a:t>
            </a:r>
            <a:r>
              <a:rPr lang="en-US" dirty="0" smtClean="0"/>
              <a:t> M-Wetter/ </a:t>
            </a:r>
            <a:r>
              <a:rPr lang="en-US" dirty="0" err="1" smtClean="0"/>
              <a:t>Ausbildung</a:t>
            </a:r>
            <a:endParaRPr lang="en-US" dirty="0" smtClean="0"/>
          </a:p>
        </p:txBody>
      </p:sp>
      <p:grpSp>
        <p:nvGrpSpPr>
          <p:cNvPr id="8298" name="Gruppieren 8297"/>
          <p:cNvGrpSpPr/>
          <p:nvPr/>
        </p:nvGrpSpPr>
        <p:grpSpPr>
          <a:xfrm>
            <a:off x="956844" y="1265274"/>
            <a:ext cx="7230312" cy="4784651"/>
            <a:chOff x="956844" y="1265274"/>
            <a:chExt cx="7230312" cy="4784651"/>
          </a:xfrm>
        </p:grpSpPr>
        <p:sp>
          <p:nvSpPr>
            <p:cNvPr id="7" name="Rechteck 6"/>
            <p:cNvSpPr/>
            <p:nvPr/>
          </p:nvSpPr>
          <p:spPr>
            <a:xfrm>
              <a:off x="956844" y="1265274"/>
              <a:ext cx="7230312" cy="4784651"/>
            </a:xfrm>
            <a:prstGeom prst="rect">
              <a:avLst/>
            </a:prstGeom>
            <a:no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" name="Rechteck 8"/>
            <p:cNvSpPr/>
            <p:nvPr/>
          </p:nvSpPr>
          <p:spPr>
            <a:xfrm>
              <a:off x="1255814" y="2444697"/>
              <a:ext cx="1638964" cy="1638964"/>
            </a:xfrm>
            <a:prstGeom prst="rect">
              <a:avLst/>
            </a:prstGeom>
            <a:no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1655143" y="2844026"/>
              <a:ext cx="840306" cy="840306"/>
            </a:xfrm>
            <a:prstGeom prst="rect">
              <a:avLst/>
            </a:prstGeom>
            <a:noFill/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29" name="Gruppieren 28"/>
            <p:cNvGrpSpPr/>
            <p:nvPr/>
          </p:nvGrpSpPr>
          <p:grpSpPr>
            <a:xfrm>
              <a:off x="4039974" y="2696466"/>
              <a:ext cx="1511480" cy="810000"/>
              <a:chOff x="3942000" y="2696466"/>
              <a:chExt cx="1511480" cy="810000"/>
            </a:xfrm>
          </p:grpSpPr>
          <p:sp>
            <p:nvSpPr>
              <p:cNvPr id="12" name="Rechteck 11"/>
              <p:cNvSpPr/>
              <p:nvPr/>
            </p:nvSpPr>
            <p:spPr>
              <a:xfrm>
                <a:off x="4193480" y="2966466"/>
                <a:ext cx="1260000" cy="540000"/>
              </a:xfrm>
              <a:prstGeom prst="rect">
                <a:avLst/>
              </a:prstGeom>
              <a:noFill/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23" name="Gerade Verbindung 22"/>
              <p:cNvCxnSpPr/>
              <p:nvPr/>
            </p:nvCxnSpPr>
            <p:spPr>
              <a:xfrm>
                <a:off x="3942000" y="2696466"/>
                <a:ext cx="0" cy="54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/>
            </p:nvCxnSpPr>
            <p:spPr>
              <a:xfrm>
                <a:off x="3942000" y="2701319"/>
                <a:ext cx="126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/>
            </p:nvCxnSpPr>
            <p:spPr>
              <a:xfrm>
                <a:off x="3942000" y="3236466"/>
                <a:ext cx="251480" cy="27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/>
            </p:nvCxnSpPr>
            <p:spPr>
              <a:xfrm>
                <a:off x="3942000" y="2709026"/>
                <a:ext cx="251480" cy="27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/>
            </p:nvCxnSpPr>
            <p:spPr>
              <a:xfrm>
                <a:off x="5202000" y="2696466"/>
                <a:ext cx="251480" cy="27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ieren 33"/>
            <p:cNvGrpSpPr/>
            <p:nvPr/>
          </p:nvGrpSpPr>
          <p:grpSpPr>
            <a:xfrm>
              <a:off x="6268824" y="2709026"/>
              <a:ext cx="1511480" cy="810000"/>
              <a:chOff x="3942000" y="2696466"/>
              <a:chExt cx="1511480" cy="810000"/>
            </a:xfrm>
          </p:grpSpPr>
          <p:sp>
            <p:nvSpPr>
              <p:cNvPr id="35" name="Rechteck 34"/>
              <p:cNvSpPr/>
              <p:nvPr/>
            </p:nvSpPr>
            <p:spPr>
              <a:xfrm>
                <a:off x="4193480" y="2966466"/>
                <a:ext cx="1260000" cy="540000"/>
              </a:xfrm>
              <a:prstGeom prst="rect">
                <a:avLst/>
              </a:prstGeom>
              <a:noFill/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36" name="Gerade Verbindung 35"/>
              <p:cNvCxnSpPr/>
              <p:nvPr/>
            </p:nvCxnSpPr>
            <p:spPr>
              <a:xfrm>
                <a:off x="3942000" y="2696466"/>
                <a:ext cx="0" cy="54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/>
            </p:nvCxnSpPr>
            <p:spPr>
              <a:xfrm>
                <a:off x="3942000" y="2701319"/>
                <a:ext cx="126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/>
            </p:nvCxnSpPr>
            <p:spPr>
              <a:xfrm>
                <a:off x="3942000" y="3236466"/>
                <a:ext cx="251480" cy="27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/>
            </p:nvCxnSpPr>
            <p:spPr>
              <a:xfrm>
                <a:off x="3942000" y="2709026"/>
                <a:ext cx="251480" cy="27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/>
            </p:nvCxnSpPr>
            <p:spPr>
              <a:xfrm>
                <a:off x="5202000" y="2696466"/>
                <a:ext cx="251480" cy="27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uppieren 40"/>
            <p:cNvGrpSpPr/>
            <p:nvPr/>
          </p:nvGrpSpPr>
          <p:grpSpPr>
            <a:xfrm>
              <a:off x="3688114" y="4379216"/>
              <a:ext cx="1511480" cy="810000"/>
              <a:chOff x="3942000" y="2696466"/>
              <a:chExt cx="1511480" cy="810000"/>
            </a:xfrm>
          </p:grpSpPr>
          <p:sp>
            <p:nvSpPr>
              <p:cNvPr id="42" name="Rechteck 41"/>
              <p:cNvSpPr/>
              <p:nvPr/>
            </p:nvSpPr>
            <p:spPr>
              <a:xfrm>
                <a:off x="4193480" y="2966466"/>
                <a:ext cx="1260000" cy="540000"/>
              </a:xfrm>
              <a:prstGeom prst="rect">
                <a:avLst/>
              </a:prstGeom>
              <a:noFill/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43" name="Gerade Verbindung 42"/>
              <p:cNvCxnSpPr/>
              <p:nvPr/>
            </p:nvCxnSpPr>
            <p:spPr>
              <a:xfrm>
                <a:off x="3942000" y="2696466"/>
                <a:ext cx="0" cy="54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/>
            </p:nvCxnSpPr>
            <p:spPr>
              <a:xfrm>
                <a:off x="3942000" y="2701319"/>
                <a:ext cx="126000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/>
            </p:nvCxnSpPr>
            <p:spPr>
              <a:xfrm>
                <a:off x="3942000" y="3236466"/>
                <a:ext cx="251480" cy="27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/>
            </p:nvCxnSpPr>
            <p:spPr>
              <a:xfrm>
                <a:off x="3942000" y="2709026"/>
                <a:ext cx="251480" cy="27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/>
            </p:nvCxnSpPr>
            <p:spPr>
              <a:xfrm>
                <a:off x="5202000" y="2696466"/>
                <a:ext cx="251480" cy="27000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0" name="Textfeld 29"/>
            <p:cNvSpPr txBox="1"/>
            <p:nvPr/>
          </p:nvSpPr>
          <p:spPr>
            <a:xfrm>
              <a:off x="1304474" y="2552700"/>
              <a:ext cx="153035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400" dirty="0" smtClean="0"/>
                <a:t>OSX/Windows</a:t>
              </a:r>
              <a:endParaRPr lang="de-DE" sz="1400" dirty="0" smtClean="0"/>
            </a:p>
          </p:txBody>
        </p:sp>
        <p:sp>
          <p:nvSpPr>
            <p:cNvPr id="49" name="Textfeld 48"/>
            <p:cNvSpPr txBox="1"/>
            <p:nvPr/>
          </p:nvSpPr>
          <p:spPr>
            <a:xfrm>
              <a:off x="1310121" y="3151827"/>
              <a:ext cx="153035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100" dirty="0" smtClean="0"/>
                <a:t>&lt;&lt;</a:t>
              </a:r>
              <a:r>
                <a:rPr lang="de-DE" sz="1100" dirty="0" err="1" smtClean="0"/>
                <a:t>system</a:t>
              </a:r>
              <a:r>
                <a:rPr lang="de-DE" sz="1100" dirty="0" smtClean="0"/>
                <a:t>&gt;&gt;</a:t>
              </a:r>
              <a:endParaRPr lang="de-DE" sz="1100" dirty="0" smtClean="0"/>
            </a:p>
          </p:txBody>
        </p:sp>
        <p:sp>
          <p:nvSpPr>
            <p:cNvPr id="50" name="Textfeld 49"/>
            <p:cNvSpPr txBox="1"/>
            <p:nvPr/>
          </p:nvSpPr>
          <p:spPr>
            <a:xfrm>
              <a:off x="4156279" y="3128743"/>
              <a:ext cx="153035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400" dirty="0" err="1" smtClean="0"/>
                <a:t>Raspberry</a:t>
              </a:r>
              <a:r>
                <a:rPr lang="de-DE" sz="1400" dirty="0" smtClean="0"/>
                <a:t> Pi</a:t>
              </a:r>
              <a:endParaRPr lang="de-DE" sz="1400" dirty="0" smtClean="0"/>
            </a:p>
          </p:txBody>
        </p:sp>
        <p:sp>
          <p:nvSpPr>
            <p:cNvPr id="52" name="Textfeld 51"/>
            <p:cNvSpPr txBox="1"/>
            <p:nvPr/>
          </p:nvSpPr>
          <p:spPr>
            <a:xfrm>
              <a:off x="6385129" y="3141304"/>
              <a:ext cx="153035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400" dirty="0" smtClean="0"/>
                <a:t>Wetterstation</a:t>
              </a:r>
              <a:endParaRPr lang="de-DE" sz="1100" dirty="0" smtClean="0"/>
            </a:p>
          </p:txBody>
        </p:sp>
        <p:sp>
          <p:nvSpPr>
            <p:cNvPr id="53" name="Textfeld 52"/>
            <p:cNvSpPr txBox="1"/>
            <p:nvPr/>
          </p:nvSpPr>
          <p:spPr>
            <a:xfrm>
              <a:off x="3804079" y="4703772"/>
              <a:ext cx="1530350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400" dirty="0" err="1" smtClean="0"/>
                <a:t>PostgreSQL</a:t>
              </a:r>
              <a:endParaRPr lang="de-DE" sz="1400" dirty="0" smtClean="0"/>
            </a:p>
            <a:p>
              <a:pPr algn="ctr"/>
              <a:r>
                <a:rPr lang="de-DE" sz="1400" dirty="0" smtClean="0"/>
                <a:t>DB</a:t>
              </a:r>
              <a:endParaRPr lang="de-DE" sz="1400" dirty="0" smtClean="0"/>
            </a:p>
          </p:txBody>
        </p:sp>
        <p:cxnSp>
          <p:nvCxnSpPr>
            <p:cNvPr id="8289" name="Gerade Verbindung 8288"/>
            <p:cNvCxnSpPr/>
            <p:nvPr/>
          </p:nvCxnSpPr>
          <p:spPr>
            <a:xfrm>
              <a:off x="2894778" y="4083661"/>
              <a:ext cx="909641" cy="716939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94" name="Gerade Verbindung 8293"/>
            <p:cNvCxnSpPr/>
            <p:nvPr/>
          </p:nvCxnSpPr>
          <p:spPr>
            <a:xfrm>
              <a:off x="2894778" y="3109913"/>
              <a:ext cx="1261501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96" name="Gerade Verbindung 8295"/>
            <p:cNvCxnSpPr/>
            <p:nvPr/>
          </p:nvCxnSpPr>
          <p:spPr>
            <a:xfrm>
              <a:off x="5551454" y="3164387"/>
              <a:ext cx="83367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3806055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53494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Arial Narrow"/>
              <a:sym typeface="Arial Narrow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50839" y="730250"/>
            <a:ext cx="8440736" cy="369332"/>
          </a:xfrm>
        </p:spPr>
        <p:txBody>
          <a:bodyPr/>
          <a:lstStyle/>
          <a:p>
            <a:r>
              <a:rPr lang="de-DE" dirty="0" smtClean="0"/>
              <a:t>Verwendete Technologi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>
          <a:xfrm>
            <a:off x="350838" y="6509589"/>
            <a:ext cx="548754" cy="159771"/>
          </a:xfrm>
        </p:spPr>
        <p:txBody>
          <a:bodyPr/>
          <a:lstStyle/>
          <a:p>
            <a:fld id="{5D5ECB39-EFE3-45BA-A65C-33A20752AD8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2" name="BainBulletsConfiguration" hidden="1"/>
          <p:cNvSpPr txBox="1"/>
          <p:nvPr/>
        </p:nvSpPr>
        <p:spPr bwMode="gray">
          <a:xfrm>
            <a:off x="12700" y="12700"/>
            <a:ext cx="8890000" cy="1538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endParaRPr lang="de-DE" sz="100" dirty="0" err="1" smtClean="0">
              <a:solidFill>
                <a:srgbClr val="FFFFFF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de-DE" dirty="0" smtClean="0"/>
              <a:t>JDBC</a:t>
            </a:r>
          </a:p>
          <a:p>
            <a:pPr lvl="1"/>
            <a:r>
              <a:rPr lang="de-DE" dirty="0" smtClean="0"/>
              <a:t>Datenbankschnittstelle der Java-Plattform</a:t>
            </a:r>
          </a:p>
          <a:p>
            <a:endParaRPr lang="de-DE" dirty="0"/>
          </a:p>
          <a:p>
            <a:r>
              <a:rPr lang="de-DE" dirty="0" smtClean="0"/>
              <a:t>JAVAFX</a:t>
            </a:r>
          </a:p>
          <a:p>
            <a:pPr lvl="1"/>
            <a:r>
              <a:rPr lang="de-DE" dirty="0" smtClean="0"/>
              <a:t>Framework zur Erstellung </a:t>
            </a:r>
            <a:r>
              <a:rPr lang="de-DE" dirty="0" err="1" smtClean="0"/>
              <a:t>Platfformübergreifender</a:t>
            </a:r>
            <a:r>
              <a:rPr lang="de-DE" dirty="0" smtClean="0"/>
              <a:t> Java-Applikationen</a:t>
            </a:r>
          </a:p>
        </p:txBody>
      </p:sp>
      <p:sp>
        <p:nvSpPr>
          <p:cNvPr id="13" name="Datumsplatzhalter 10"/>
          <p:cNvSpPr>
            <a:spLocks noGrp="1"/>
          </p:cNvSpPr>
          <p:nvPr>
            <p:ph type="dt" sz="half" idx="12"/>
          </p:nvPr>
        </p:nvSpPr>
        <p:spPr>
          <a:xfrm>
            <a:off x="930708" y="6515472"/>
            <a:ext cx="1002868" cy="153888"/>
          </a:xfrm>
        </p:spPr>
        <p:txBody>
          <a:bodyPr/>
          <a:lstStyle/>
          <a:p>
            <a:r>
              <a:rPr lang="de-DE" dirty="0" smtClean="0"/>
              <a:t>14.07.2017</a:t>
            </a:r>
            <a:endParaRPr lang="en-US" dirty="0"/>
          </a:p>
        </p:txBody>
      </p:sp>
      <p:sp>
        <p:nvSpPr>
          <p:cNvPr id="14" name="Fußzeilenplatzhalter 11"/>
          <p:cNvSpPr>
            <a:spLocks noGrp="1"/>
          </p:cNvSpPr>
          <p:nvPr>
            <p:ph type="ftr" sz="quarter" idx="13"/>
          </p:nvPr>
        </p:nvSpPr>
        <p:spPr>
          <a:xfrm>
            <a:off x="1977322" y="6509589"/>
            <a:ext cx="3117192" cy="153888"/>
          </a:xfrm>
        </p:spPr>
        <p:txBody>
          <a:bodyPr/>
          <a:lstStyle/>
          <a:p>
            <a:r>
              <a:rPr lang="en-US" dirty="0" smtClean="0"/>
              <a:t>/ </a:t>
            </a:r>
            <a:r>
              <a:rPr lang="en-US" dirty="0" err="1" smtClean="0"/>
              <a:t>Projektpräsentation</a:t>
            </a:r>
            <a:r>
              <a:rPr lang="en-US" dirty="0" smtClean="0"/>
              <a:t> M-Wetter/ </a:t>
            </a:r>
            <a:r>
              <a:rPr lang="en-US" dirty="0" err="1" smtClean="0"/>
              <a:t>Ausbildung</a:t>
            </a:r>
            <a:endParaRPr lang="en-US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148794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ive Vorführu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de-DE" dirty="0" smtClean="0"/>
              <a:t>14.07.2017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tabLst>
                <a:tab pos="1257300" algn="l"/>
                <a:tab pos="2689225" algn="l"/>
              </a:tabLst>
            </a:pPr>
            <a:r>
              <a:rPr lang="en-US" dirty="0" err="1" smtClean="0"/>
              <a:t>Projektpräsentation</a:t>
            </a:r>
            <a:r>
              <a:rPr lang="en-US" dirty="0" smtClean="0"/>
              <a:t> M-</a:t>
            </a:r>
            <a:r>
              <a:rPr lang="en-US" dirty="0" err="1" smtClean="0"/>
              <a:t>Wettter</a:t>
            </a:r>
            <a:r>
              <a:rPr lang="en-US" dirty="0" smtClean="0"/>
              <a:t>/</a:t>
            </a:r>
            <a:r>
              <a:rPr lang="en-US" dirty="0" err="1" smtClean="0"/>
              <a:t>Ausbildung</a:t>
            </a:r>
            <a:endParaRPr lang="en-US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ECB39-EFE3-45BA-A65C-33A20752AD82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14097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 2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3923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Bildplatzhalter 29"/>
          <p:cNvPicPr>
            <a:picLocks noGrp="1" noChangeAspect="1"/>
          </p:cNvPicPr>
          <p:nvPr>
            <p:ph type="pic" sz="quarter" idx="10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Vielen Dank für Ihre Aufmerksamkeit.</a:t>
            </a:r>
            <a:endParaRPr lang="de-DE" dirty="0"/>
          </a:p>
        </p:txBody>
      </p:sp>
      <p:sp useBgFill="1">
        <p:nvSpPr>
          <p:cNvPr id="4" name="Rechteck 3"/>
          <p:cNvSpPr/>
          <p:nvPr/>
        </p:nvSpPr>
        <p:spPr>
          <a:xfrm>
            <a:off x="6653213" y="206375"/>
            <a:ext cx="2490787" cy="52387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31" name="Gruppieren 30"/>
          <p:cNvGrpSpPr/>
          <p:nvPr/>
        </p:nvGrpSpPr>
        <p:grpSpPr>
          <a:xfrm>
            <a:off x="6926263" y="293688"/>
            <a:ext cx="1863725" cy="347663"/>
            <a:chOff x="6926263" y="295276"/>
            <a:chExt cx="1863725" cy="347663"/>
          </a:xfrm>
        </p:grpSpPr>
        <p:sp>
          <p:nvSpPr>
            <p:cNvPr id="32" name="Freeform 6"/>
            <p:cNvSpPr>
              <a:spLocks/>
            </p:cNvSpPr>
            <p:nvPr userDrawn="1"/>
          </p:nvSpPr>
          <p:spPr bwMode="auto">
            <a:xfrm>
              <a:off x="8308975" y="295276"/>
              <a:ext cx="257175" cy="347663"/>
            </a:xfrm>
            <a:custGeom>
              <a:avLst/>
              <a:gdLst>
                <a:gd name="T0" fmla="*/ 361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1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1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rgbClr val="75AD4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7"/>
            <p:cNvSpPr>
              <a:spLocks/>
            </p:cNvSpPr>
            <p:nvPr userDrawn="1"/>
          </p:nvSpPr>
          <p:spPr bwMode="auto">
            <a:xfrm>
              <a:off x="8196263" y="295276"/>
              <a:ext cx="258762" cy="347663"/>
            </a:xfrm>
            <a:custGeom>
              <a:avLst/>
              <a:gdLst>
                <a:gd name="T0" fmla="*/ 360 w 488"/>
                <a:gd name="T1" fmla="*/ 0 h 656"/>
                <a:gd name="T2" fmla="*/ 488 w 488"/>
                <a:gd name="T3" fmla="*/ 0 h 656"/>
                <a:gd name="T4" fmla="*/ 128 w 488"/>
                <a:gd name="T5" fmla="*/ 656 h 656"/>
                <a:gd name="T6" fmla="*/ 0 w 488"/>
                <a:gd name="T7" fmla="*/ 656 h 656"/>
                <a:gd name="T8" fmla="*/ 360 w 488"/>
                <a:gd name="T9" fmla="*/ 0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8" h="656">
                  <a:moveTo>
                    <a:pt x="360" y="0"/>
                  </a:moveTo>
                  <a:lnTo>
                    <a:pt x="488" y="0"/>
                  </a:lnTo>
                  <a:lnTo>
                    <a:pt x="128" y="656"/>
                  </a:lnTo>
                  <a:lnTo>
                    <a:pt x="0" y="656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1C539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8"/>
            <p:cNvSpPr>
              <a:spLocks/>
            </p:cNvSpPr>
            <p:nvPr userDrawn="1"/>
          </p:nvSpPr>
          <p:spPr bwMode="auto">
            <a:xfrm>
              <a:off x="7975600" y="349251"/>
              <a:ext cx="339725" cy="241300"/>
            </a:xfrm>
            <a:custGeom>
              <a:avLst/>
              <a:gdLst>
                <a:gd name="T0" fmla="*/ 0 w 641"/>
                <a:gd name="T1" fmla="*/ 0 h 455"/>
                <a:gd name="T2" fmla="*/ 117 w 641"/>
                <a:gd name="T3" fmla="*/ 0 h 455"/>
                <a:gd name="T4" fmla="*/ 117 w 641"/>
                <a:gd name="T5" fmla="*/ 242 h 455"/>
                <a:gd name="T6" fmla="*/ 259 w 641"/>
                <a:gd name="T7" fmla="*/ 0 h 455"/>
                <a:gd name="T8" fmla="*/ 387 w 641"/>
                <a:gd name="T9" fmla="*/ 0 h 455"/>
                <a:gd name="T10" fmla="*/ 387 w 641"/>
                <a:gd name="T11" fmla="*/ 246 h 455"/>
                <a:gd name="T12" fmla="*/ 528 w 641"/>
                <a:gd name="T13" fmla="*/ 0 h 455"/>
                <a:gd name="T14" fmla="*/ 641 w 641"/>
                <a:gd name="T15" fmla="*/ 0 h 455"/>
                <a:gd name="T16" fmla="*/ 390 w 641"/>
                <a:gd name="T17" fmla="*/ 455 h 455"/>
                <a:gd name="T18" fmla="*/ 268 w 641"/>
                <a:gd name="T19" fmla="*/ 455 h 455"/>
                <a:gd name="T20" fmla="*/ 268 w 641"/>
                <a:gd name="T21" fmla="*/ 192 h 455"/>
                <a:gd name="T22" fmla="*/ 117 w 641"/>
                <a:gd name="T23" fmla="*/ 455 h 455"/>
                <a:gd name="T24" fmla="*/ 0 w 641"/>
                <a:gd name="T25" fmla="*/ 455 h 455"/>
                <a:gd name="T26" fmla="*/ 0 w 641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455">
                  <a:moveTo>
                    <a:pt x="0" y="0"/>
                  </a:moveTo>
                  <a:lnTo>
                    <a:pt x="117" y="0"/>
                  </a:lnTo>
                  <a:lnTo>
                    <a:pt x="117" y="242"/>
                  </a:lnTo>
                  <a:lnTo>
                    <a:pt x="259" y="0"/>
                  </a:lnTo>
                  <a:lnTo>
                    <a:pt x="387" y="0"/>
                  </a:lnTo>
                  <a:lnTo>
                    <a:pt x="387" y="246"/>
                  </a:lnTo>
                  <a:lnTo>
                    <a:pt x="528" y="0"/>
                  </a:lnTo>
                  <a:lnTo>
                    <a:pt x="641" y="0"/>
                  </a:lnTo>
                  <a:lnTo>
                    <a:pt x="390" y="455"/>
                  </a:lnTo>
                  <a:lnTo>
                    <a:pt x="268" y="455"/>
                  </a:lnTo>
                  <a:lnTo>
                    <a:pt x="268" y="192"/>
                  </a:lnTo>
                  <a:lnTo>
                    <a:pt x="117" y="455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9"/>
            <p:cNvSpPr>
              <a:spLocks/>
            </p:cNvSpPr>
            <p:nvPr userDrawn="1"/>
          </p:nvSpPr>
          <p:spPr bwMode="auto">
            <a:xfrm>
              <a:off x="8450263" y="349251"/>
              <a:ext cx="339725" cy="241300"/>
            </a:xfrm>
            <a:custGeom>
              <a:avLst/>
              <a:gdLst>
                <a:gd name="T0" fmla="*/ 250 w 642"/>
                <a:gd name="T1" fmla="*/ 0 h 455"/>
                <a:gd name="T2" fmla="*/ 375 w 642"/>
                <a:gd name="T3" fmla="*/ 0 h 455"/>
                <a:gd name="T4" fmla="*/ 375 w 642"/>
                <a:gd name="T5" fmla="*/ 262 h 455"/>
                <a:gd name="T6" fmla="*/ 523 w 642"/>
                <a:gd name="T7" fmla="*/ 0 h 455"/>
                <a:gd name="T8" fmla="*/ 642 w 642"/>
                <a:gd name="T9" fmla="*/ 0 h 455"/>
                <a:gd name="T10" fmla="*/ 642 w 642"/>
                <a:gd name="T11" fmla="*/ 455 h 455"/>
                <a:gd name="T12" fmla="*/ 523 w 642"/>
                <a:gd name="T13" fmla="*/ 455 h 455"/>
                <a:gd name="T14" fmla="*/ 523 w 642"/>
                <a:gd name="T15" fmla="*/ 212 h 455"/>
                <a:gd name="T16" fmla="*/ 375 w 642"/>
                <a:gd name="T17" fmla="*/ 455 h 455"/>
                <a:gd name="T18" fmla="*/ 253 w 642"/>
                <a:gd name="T19" fmla="*/ 455 h 455"/>
                <a:gd name="T20" fmla="*/ 253 w 642"/>
                <a:gd name="T21" fmla="*/ 211 h 455"/>
                <a:gd name="T22" fmla="*/ 114 w 642"/>
                <a:gd name="T23" fmla="*/ 455 h 455"/>
                <a:gd name="T24" fmla="*/ 0 w 642"/>
                <a:gd name="T25" fmla="*/ 455 h 455"/>
                <a:gd name="T26" fmla="*/ 250 w 642"/>
                <a:gd name="T27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2" h="455">
                  <a:moveTo>
                    <a:pt x="250" y="0"/>
                  </a:moveTo>
                  <a:lnTo>
                    <a:pt x="375" y="0"/>
                  </a:lnTo>
                  <a:lnTo>
                    <a:pt x="375" y="262"/>
                  </a:lnTo>
                  <a:lnTo>
                    <a:pt x="523" y="0"/>
                  </a:lnTo>
                  <a:lnTo>
                    <a:pt x="642" y="0"/>
                  </a:lnTo>
                  <a:lnTo>
                    <a:pt x="642" y="455"/>
                  </a:lnTo>
                  <a:lnTo>
                    <a:pt x="523" y="455"/>
                  </a:lnTo>
                  <a:lnTo>
                    <a:pt x="523" y="212"/>
                  </a:lnTo>
                  <a:lnTo>
                    <a:pt x="375" y="455"/>
                  </a:lnTo>
                  <a:lnTo>
                    <a:pt x="253" y="455"/>
                  </a:lnTo>
                  <a:lnTo>
                    <a:pt x="253" y="211"/>
                  </a:lnTo>
                  <a:lnTo>
                    <a:pt x="114" y="455"/>
                  </a:lnTo>
                  <a:lnTo>
                    <a:pt x="0" y="455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10"/>
            <p:cNvSpPr>
              <a:spLocks/>
            </p:cNvSpPr>
            <p:nvPr userDrawn="1"/>
          </p:nvSpPr>
          <p:spPr bwMode="auto">
            <a:xfrm>
              <a:off x="7734300" y="339726"/>
              <a:ext cx="212725" cy="255588"/>
            </a:xfrm>
            <a:custGeom>
              <a:avLst/>
              <a:gdLst>
                <a:gd name="T0" fmla="*/ 236 w 402"/>
                <a:gd name="T1" fmla="*/ 2 h 483"/>
                <a:gd name="T2" fmla="*/ 296 w 402"/>
                <a:gd name="T3" fmla="*/ 18 h 483"/>
                <a:gd name="T4" fmla="*/ 346 w 402"/>
                <a:gd name="T5" fmla="*/ 49 h 483"/>
                <a:gd name="T6" fmla="*/ 378 w 402"/>
                <a:gd name="T7" fmla="*/ 89 h 483"/>
                <a:gd name="T8" fmla="*/ 389 w 402"/>
                <a:gd name="T9" fmla="*/ 138 h 483"/>
                <a:gd name="T10" fmla="*/ 268 w 402"/>
                <a:gd name="T11" fmla="*/ 151 h 483"/>
                <a:gd name="T12" fmla="*/ 264 w 402"/>
                <a:gd name="T13" fmla="*/ 128 h 483"/>
                <a:gd name="T14" fmla="*/ 241 w 402"/>
                <a:gd name="T15" fmla="*/ 105 h 483"/>
                <a:gd name="T16" fmla="*/ 202 w 402"/>
                <a:gd name="T17" fmla="*/ 96 h 483"/>
                <a:gd name="T18" fmla="*/ 176 w 402"/>
                <a:gd name="T19" fmla="*/ 98 h 483"/>
                <a:gd name="T20" fmla="*/ 148 w 402"/>
                <a:gd name="T21" fmla="*/ 110 h 483"/>
                <a:gd name="T22" fmla="*/ 137 w 402"/>
                <a:gd name="T23" fmla="*/ 128 h 483"/>
                <a:gd name="T24" fmla="*/ 141 w 402"/>
                <a:gd name="T25" fmla="*/ 146 h 483"/>
                <a:gd name="T26" fmla="*/ 165 w 402"/>
                <a:gd name="T27" fmla="*/ 165 h 483"/>
                <a:gd name="T28" fmla="*/ 190 w 402"/>
                <a:gd name="T29" fmla="*/ 174 h 483"/>
                <a:gd name="T30" fmla="*/ 214 w 402"/>
                <a:gd name="T31" fmla="*/ 181 h 483"/>
                <a:gd name="T32" fmla="*/ 243 w 402"/>
                <a:gd name="T33" fmla="*/ 189 h 483"/>
                <a:gd name="T34" fmla="*/ 271 w 402"/>
                <a:gd name="T35" fmla="*/ 197 h 483"/>
                <a:gd name="T36" fmla="*/ 296 w 402"/>
                <a:gd name="T37" fmla="*/ 207 h 483"/>
                <a:gd name="T38" fmla="*/ 320 w 402"/>
                <a:gd name="T39" fmla="*/ 215 h 483"/>
                <a:gd name="T40" fmla="*/ 331 w 402"/>
                <a:gd name="T41" fmla="*/ 220 h 483"/>
                <a:gd name="T42" fmla="*/ 372 w 402"/>
                <a:gd name="T43" fmla="*/ 250 h 483"/>
                <a:gd name="T44" fmla="*/ 398 w 402"/>
                <a:gd name="T45" fmla="*/ 294 h 483"/>
                <a:gd name="T46" fmla="*/ 401 w 402"/>
                <a:gd name="T47" fmla="*/ 347 h 483"/>
                <a:gd name="T48" fmla="*/ 386 w 402"/>
                <a:gd name="T49" fmla="*/ 399 h 483"/>
                <a:gd name="T50" fmla="*/ 354 w 402"/>
                <a:gd name="T51" fmla="*/ 438 h 483"/>
                <a:gd name="T52" fmla="*/ 305 w 402"/>
                <a:gd name="T53" fmla="*/ 466 h 483"/>
                <a:gd name="T54" fmla="*/ 240 w 402"/>
                <a:gd name="T55" fmla="*/ 481 h 483"/>
                <a:gd name="T56" fmla="*/ 163 w 402"/>
                <a:gd name="T57" fmla="*/ 481 h 483"/>
                <a:gd name="T58" fmla="*/ 98 w 402"/>
                <a:gd name="T59" fmla="*/ 467 h 483"/>
                <a:gd name="T60" fmla="*/ 50 w 402"/>
                <a:gd name="T61" fmla="*/ 440 h 483"/>
                <a:gd name="T62" fmla="*/ 18 w 402"/>
                <a:gd name="T63" fmla="*/ 399 h 483"/>
                <a:gd name="T64" fmla="*/ 2 w 402"/>
                <a:gd name="T65" fmla="*/ 347 h 483"/>
                <a:gd name="T66" fmla="*/ 121 w 402"/>
                <a:gd name="T67" fmla="*/ 317 h 483"/>
                <a:gd name="T68" fmla="*/ 132 w 402"/>
                <a:gd name="T69" fmla="*/ 356 h 483"/>
                <a:gd name="T70" fmla="*/ 161 w 402"/>
                <a:gd name="T71" fmla="*/ 384 h 483"/>
                <a:gd name="T72" fmla="*/ 200 w 402"/>
                <a:gd name="T73" fmla="*/ 395 h 483"/>
                <a:gd name="T74" fmla="*/ 241 w 402"/>
                <a:gd name="T75" fmla="*/ 387 h 483"/>
                <a:gd name="T76" fmla="*/ 269 w 402"/>
                <a:gd name="T77" fmla="*/ 370 h 483"/>
                <a:gd name="T78" fmla="*/ 280 w 402"/>
                <a:gd name="T79" fmla="*/ 346 h 483"/>
                <a:gd name="T80" fmla="*/ 276 w 402"/>
                <a:gd name="T81" fmla="*/ 328 h 483"/>
                <a:gd name="T82" fmla="*/ 262 w 402"/>
                <a:gd name="T83" fmla="*/ 313 h 483"/>
                <a:gd name="T84" fmla="*/ 236 w 402"/>
                <a:gd name="T85" fmla="*/ 302 h 483"/>
                <a:gd name="T86" fmla="*/ 225 w 402"/>
                <a:gd name="T87" fmla="*/ 299 h 483"/>
                <a:gd name="T88" fmla="*/ 202 w 402"/>
                <a:gd name="T89" fmla="*/ 291 h 483"/>
                <a:gd name="T90" fmla="*/ 175 w 402"/>
                <a:gd name="T91" fmla="*/ 284 h 483"/>
                <a:gd name="T92" fmla="*/ 146 w 402"/>
                <a:gd name="T93" fmla="*/ 276 h 483"/>
                <a:gd name="T94" fmla="*/ 115 w 402"/>
                <a:gd name="T95" fmla="*/ 265 h 483"/>
                <a:gd name="T96" fmla="*/ 88 w 402"/>
                <a:gd name="T97" fmla="*/ 255 h 483"/>
                <a:gd name="T98" fmla="*/ 48 w 402"/>
                <a:gd name="T99" fmla="*/ 224 h 483"/>
                <a:gd name="T100" fmla="*/ 22 w 402"/>
                <a:gd name="T101" fmla="*/ 184 h 483"/>
                <a:gd name="T102" fmla="*/ 16 w 402"/>
                <a:gd name="T103" fmla="*/ 138 h 483"/>
                <a:gd name="T104" fmla="*/ 25 w 402"/>
                <a:gd name="T105" fmla="*/ 89 h 483"/>
                <a:gd name="T106" fmla="*/ 57 w 402"/>
                <a:gd name="T107" fmla="*/ 48 h 483"/>
                <a:gd name="T108" fmla="*/ 107 w 402"/>
                <a:gd name="T109" fmla="*/ 18 h 483"/>
                <a:gd name="T110" fmla="*/ 168 w 402"/>
                <a:gd name="T111" fmla="*/ 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2" h="483">
                  <a:moveTo>
                    <a:pt x="202" y="0"/>
                  </a:moveTo>
                  <a:lnTo>
                    <a:pt x="236" y="2"/>
                  </a:lnTo>
                  <a:lnTo>
                    <a:pt x="268" y="8"/>
                  </a:lnTo>
                  <a:lnTo>
                    <a:pt x="296" y="18"/>
                  </a:lnTo>
                  <a:lnTo>
                    <a:pt x="323" y="32"/>
                  </a:lnTo>
                  <a:lnTo>
                    <a:pt x="346" y="49"/>
                  </a:lnTo>
                  <a:lnTo>
                    <a:pt x="364" y="68"/>
                  </a:lnTo>
                  <a:lnTo>
                    <a:pt x="378" y="89"/>
                  </a:lnTo>
                  <a:lnTo>
                    <a:pt x="386" y="113"/>
                  </a:lnTo>
                  <a:lnTo>
                    <a:pt x="389" y="138"/>
                  </a:lnTo>
                  <a:lnTo>
                    <a:pt x="389" y="151"/>
                  </a:lnTo>
                  <a:lnTo>
                    <a:pt x="268" y="151"/>
                  </a:lnTo>
                  <a:lnTo>
                    <a:pt x="268" y="143"/>
                  </a:lnTo>
                  <a:lnTo>
                    <a:pt x="264" y="128"/>
                  </a:lnTo>
                  <a:lnTo>
                    <a:pt x="255" y="115"/>
                  </a:lnTo>
                  <a:lnTo>
                    <a:pt x="241" y="105"/>
                  </a:lnTo>
                  <a:lnTo>
                    <a:pt x="223" y="98"/>
                  </a:lnTo>
                  <a:lnTo>
                    <a:pt x="202" y="96"/>
                  </a:lnTo>
                  <a:lnTo>
                    <a:pt x="194" y="97"/>
                  </a:lnTo>
                  <a:lnTo>
                    <a:pt x="176" y="98"/>
                  </a:lnTo>
                  <a:lnTo>
                    <a:pt x="161" y="102"/>
                  </a:lnTo>
                  <a:lnTo>
                    <a:pt x="148" y="110"/>
                  </a:lnTo>
                  <a:lnTo>
                    <a:pt x="139" y="11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41" y="146"/>
                  </a:lnTo>
                  <a:lnTo>
                    <a:pt x="150" y="156"/>
                  </a:lnTo>
                  <a:lnTo>
                    <a:pt x="165" y="165"/>
                  </a:lnTo>
                  <a:lnTo>
                    <a:pt x="178" y="169"/>
                  </a:lnTo>
                  <a:lnTo>
                    <a:pt x="190" y="174"/>
                  </a:lnTo>
                  <a:lnTo>
                    <a:pt x="201" y="177"/>
                  </a:lnTo>
                  <a:lnTo>
                    <a:pt x="214" y="181"/>
                  </a:lnTo>
                  <a:lnTo>
                    <a:pt x="229" y="185"/>
                  </a:lnTo>
                  <a:lnTo>
                    <a:pt x="243" y="189"/>
                  </a:lnTo>
                  <a:lnTo>
                    <a:pt x="256" y="193"/>
                  </a:lnTo>
                  <a:lnTo>
                    <a:pt x="271" y="197"/>
                  </a:lnTo>
                  <a:lnTo>
                    <a:pt x="284" y="201"/>
                  </a:lnTo>
                  <a:lnTo>
                    <a:pt x="296" y="207"/>
                  </a:lnTo>
                  <a:lnTo>
                    <a:pt x="309" y="211"/>
                  </a:lnTo>
                  <a:lnTo>
                    <a:pt x="320" y="215"/>
                  </a:lnTo>
                  <a:lnTo>
                    <a:pt x="327" y="218"/>
                  </a:lnTo>
                  <a:lnTo>
                    <a:pt x="331" y="220"/>
                  </a:lnTo>
                  <a:lnTo>
                    <a:pt x="353" y="232"/>
                  </a:lnTo>
                  <a:lnTo>
                    <a:pt x="372" y="250"/>
                  </a:lnTo>
                  <a:lnTo>
                    <a:pt x="388" y="271"/>
                  </a:lnTo>
                  <a:lnTo>
                    <a:pt x="398" y="294"/>
                  </a:lnTo>
                  <a:lnTo>
                    <a:pt x="402" y="318"/>
                  </a:lnTo>
                  <a:lnTo>
                    <a:pt x="401" y="347"/>
                  </a:lnTo>
                  <a:lnTo>
                    <a:pt x="396" y="374"/>
                  </a:lnTo>
                  <a:lnTo>
                    <a:pt x="386" y="399"/>
                  </a:lnTo>
                  <a:lnTo>
                    <a:pt x="372" y="420"/>
                  </a:lnTo>
                  <a:lnTo>
                    <a:pt x="354" y="438"/>
                  </a:lnTo>
                  <a:lnTo>
                    <a:pt x="332" y="454"/>
                  </a:lnTo>
                  <a:lnTo>
                    <a:pt x="305" y="466"/>
                  </a:lnTo>
                  <a:lnTo>
                    <a:pt x="274" y="476"/>
                  </a:lnTo>
                  <a:lnTo>
                    <a:pt x="240" y="481"/>
                  </a:lnTo>
                  <a:lnTo>
                    <a:pt x="201" y="483"/>
                  </a:lnTo>
                  <a:lnTo>
                    <a:pt x="163" y="481"/>
                  </a:lnTo>
                  <a:lnTo>
                    <a:pt x="129" y="476"/>
                  </a:lnTo>
                  <a:lnTo>
                    <a:pt x="98" y="467"/>
                  </a:lnTo>
                  <a:lnTo>
                    <a:pt x="72" y="454"/>
                  </a:lnTo>
                  <a:lnTo>
                    <a:pt x="50" y="440"/>
                  </a:lnTo>
                  <a:lnTo>
                    <a:pt x="32" y="420"/>
                  </a:lnTo>
                  <a:lnTo>
                    <a:pt x="18" y="399"/>
                  </a:lnTo>
                  <a:lnTo>
                    <a:pt x="8" y="374"/>
                  </a:lnTo>
                  <a:lnTo>
                    <a:pt x="2" y="347"/>
                  </a:lnTo>
                  <a:lnTo>
                    <a:pt x="0" y="317"/>
                  </a:lnTo>
                  <a:lnTo>
                    <a:pt x="121" y="317"/>
                  </a:lnTo>
                  <a:lnTo>
                    <a:pt x="124" y="338"/>
                  </a:lnTo>
                  <a:lnTo>
                    <a:pt x="132" y="356"/>
                  </a:lnTo>
                  <a:lnTo>
                    <a:pt x="145" y="372"/>
                  </a:lnTo>
                  <a:lnTo>
                    <a:pt x="161" y="384"/>
                  </a:lnTo>
                  <a:lnTo>
                    <a:pt x="180" y="391"/>
                  </a:lnTo>
                  <a:lnTo>
                    <a:pt x="200" y="395"/>
                  </a:lnTo>
                  <a:lnTo>
                    <a:pt x="222" y="393"/>
                  </a:lnTo>
                  <a:lnTo>
                    <a:pt x="241" y="387"/>
                  </a:lnTo>
                  <a:lnTo>
                    <a:pt x="257" y="380"/>
                  </a:lnTo>
                  <a:lnTo>
                    <a:pt x="269" y="370"/>
                  </a:lnTo>
                  <a:lnTo>
                    <a:pt x="277" y="358"/>
                  </a:lnTo>
                  <a:lnTo>
                    <a:pt x="280" y="346"/>
                  </a:lnTo>
                  <a:lnTo>
                    <a:pt x="279" y="337"/>
                  </a:lnTo>
                  <a:lnTo>
                    <a:pt x="276" y="328"/>
                  </a:lnTo>
                  <a:lnTo>
                    <a:pt x="271" y="321"/>
                  </a:lnTo>
                  <a:lnTo>
                    <a:pt x="262" y="313"/>
                  </a:lnTo>
                  <a:lnTo>
                    <a:pt x="251" y="307"/>
                  </a:lnTo>
                  <a:lnTo>
                    <a:pt x="236" y="302"/>
                  </a:lnTo>
                  <a:lnTo>
                    <a:pt x="232" y="301"/>
                  </a:lnTo>
                  <a:lnTo>
                    <a:pt x="225" y="299"/>
                  </a:lnTo>
                  <a:lnTo>
                    <a:pt x="214" y="295"/>
                  </a:lnTo>
                  <a:lnTo>
                    <a:pt x="202" y="291"/>
                  </a:lnTo>
                  <a:lnTo>
                    <a:pt x="192" y="288"/>
                  </a:lnTo>
                  <a:lnTo>
                    <a:pt x="175" y="284"/>
                  </a:lnTo>
                  <a:lnTo>
                    <a:pt x="160" y="280"/>
                  </a:lnTo>
                  <a:lnTo>
                    <a:pt x="146" y="276"/>
                  </a:lnTo>
                  <a:lnTo>
                    <a:pt x="129" y="271"/>
                  </a:lnTo>
                  <a:lnTo>
                    <a:pt x="115" y="265"/>
                  </a:lnTo>
                  <a:lnTo>
                    <a:pt x="102" y="260"/>
                  </a:lnTo>
                  <a:lnTo>
                    <a:pt x="88" y="255"/>
                  </a:lnTo>
                  <a:lnTo>
                    <a:pt x="66" y="241"/>
                  </a:lnTo>
                  <a:lnTo>
                    <a:pt x="48" y="224"/>
                  </a:lnTo>
                  <a:lnTo>
                    <a:pt x="33" y="205"/>
                  </a:lnTo>
                  <a:lnTo>
                    <a:pt x="22" y="184"/>
                  </a:lnTo>
                  <a:lnTo>
                    <a:pt x="17" y="162"/>
                  </a:lnTo>
                  <a:lnTo>
                    <a:pt x="16" y="138"/>
                  </a:lnTo>
                  <a:lnTo>
                    <a:pt x="18" y="113"/>
                  </a:lnTo>
                  <a:lnTo>
                    <a:pt x="25" y="89"/>
                  </a:lnTo>
                  <a:lnTo>
                    <a:pt x="39" y="67"/>
                  </a:lnTo>
                  <a:lnTo>
                    <a:pt x="57" y="48"/>
                  </a:lnTo>
                  <a:lnTo>
                    <a:pt x="81" y="32"/>
                  </a:lnTo>
                  <a:lnTo>
                    <a:pt x="107" y="18"/>
                  </a:lnTo>
                  <a:lnTo>
                    <a:pt x="136" y="7"/>
                  </a:lnTo>
                  <a:lnTo>
                    <a:pt x="168" y="2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11"/>
            <p:cNvSpPr>
              <a:spLocks/>
            </p:cNvSpPr>
            <p:nvPr userDrawn="1"/>
          </p:nvSpPr>
          <p:spPr bwMode="auto">
            <a:xfrm>
              <a:off x="6926263" y="354013"/>
              <a:ext cx="47625" cy="87313"/>
            </a:xfrm>
            <a:custGeom>
              <a:avLst/>
              <a:gdLst>
                <a:gd name="T0" fmla="*/ 50 w 89"/>
                <a:gd name="T1" fmla="*/ 0 h 165"/>
                <a:gd name="T2" fmla="*/ 60 w 89"/>
                <a:gd name="T3" fmla="*/ 0 h 165"/>
                <a:gd name="T4" fmla="*/ 71 w 89"/>
                <a:gd name="T5" fmla="*/ 2 h 165"/>
                <a:gd name="T6" fmla="*/ 81 w 89"/>
                <a:gd name="T7" fmla="*/ 6 h 165"/>
                <a:gd name="T8" fmla="*/ 79 w 89"/>
                <a:gd name="T9" fmla="*/ 19 h 165"/>
                <a:gd name="T10" fmla="*/ 71 w 89"/>
                <a:gd name="T11" fmla="*/ 16 h 165"/>
                <a:gd name="T12" fmla="*/ 61 w 89"/>
                <a:gd name="T13" fmla="*/ 14 h 165"/>
                <a:gd name="T14" fmla="*/ 50 w 89"/>
                <a:gd name="T15" fmla="*/ 14 h 165"/>
                <a:gd name="T16" fmla="*/ 41 w 89"/>
                <a:gd name="T17" fmla="*/ 15 h 165"/>
                <a:gd name="T18" fmla="*/ 31 w 89"/>
                <a:gd name="T19" fmla="*/ 17 h 165"/>
                <a:gd name="T20" fmla="*/ 24 w 89"/>
                <a:gd name="T21" fmla="*/ 23 h 165"/>
                <a:gd name="T22" fmla="*/ 18 w 89"/>
                <a:gd name="T23" fmla="*/ 30 h 165"/>
                <a:gd name="T24" fmla="*/ 16 w 89"/>
                <a:gd name="T25" fmla="*/ 41 h 165"/>
                <a:gd name="T26" fmla="*/ 18 w 89"/>
                <a:gd name="T27" fmla="*/ 49 h 165"/>
                <a:gd name="T28" fmla="*/ 24 w 89"/>
                <a:gd name="T29" fmla="*/ 57 h 165"/>
                <a:gd name="T30" fmla="*/ 31 w 89"/>
                <a:gd name="T31" fmla="*/ 63 h 165"/>
                <a:gd name="T32" fmla="*/ 42 w 89"/>
                <a:gd name="T33" fmla="*/ 69 h 165"/>
                <a:gd name="T34" fmla="*/ 52 w 89"/>
                <a:gd name="T35" fmla="*/ 75 h 165"/>
                <a:gd name="T36" fmla="*/ 63 w 89"/>
                <a:gd name="T37" fmla="*/ 81 h 165"/>
                <a:gd name="T38" fmla="*/ 73 w 89"/>
                <a:gd name="T39" fmla="*/ 88 h 165"/>
                <a:gd name="T40" fmla="*/ 81 w 89"/>
                <a:gd name="T41" fmla="*/ 96 h 165"/>
                <a:gd name="T42" fmla="*/ 87 w 89"/>
                <a:gd name="T43" fmla="*/ 107 h 165"/>
                <a:gd name="T44" fmla="*/ 89 w 89"/>
                <a:gd name="T45" fmla="*/ 120 h 165"/>
                <a:gd name="T46" fmla="*/ 87 w 89"/>
                <a:gd name="T47" fmla="*/ 134 h 165"/>
                <a:gd name="T48" fmla="*/ 80 w 89"/>
                <a:gd name="T49" fmla="*/ 146 h 165"/>
                <a:gd name="T50" fmla="*/ 72 w 89"/>
                <a:gd name="T51" fmla="*/ 154 h 165"/>
                <a:gd name="T52" fmla="*/ 61 w 89"/>
                <a:gd name="T53" fmla="*/ 159 h 165"/>
                <a:gd name="T54" fmla="*/ 49 w 89"/>
                <a:gd name="T55" fmla="*/ 163 h 165"/>
                <a:gd name="T56" fmla="*/ 36 w 89"/>
                <a:gd name="T57" fmla="*/ 165 h 165"/>
                <a:gd name="T58" fmla="*/ 22 w 89"/>
                <a:gd name="T59" fmla="*/ 164 h 165"/>
                <a:gd name="T60" fmla="*/ 10 w 89"/>
                <a:gd name="T61" fmla="*/ 160 h 165"/>
                <a:gd name="T62" fmla="*/ 0 w 89"/>
                <a:gd name="T63" fmla="*/ 157 h 165"/>
                <a:gd name="T64" fmla="*/ 2 w 89"/>
                <a:gd name="T65" fmla="*/ 141 h 165"/>
                <a:gd name="T66" fmla="*/ 12 w 89"/>
                <a:gd name="T67" fmla="*/ 147 h 165"/>
                <a:gd name="T68" fmla="*/ 24 w 89"/>
                <a:gd name="T69" fmla="*/ 150 h 165"/>
                <a:gd name="T70" fmla="*/ 37 w 89"/>
                <a:gd name="T71" fmla="*/ 151 h 165"/>
                <a:gd name="T72" fmla="*/ 48 w 89"/>
                <a:gd name="T73" fmla="*/ 150 h 165"/>
                <a:gd name="T74" fmla="*/ 58 w 89"/>
                <a:gd name="T75" fmla="*/ 146 h 165"/>
                <a:gd name="T76" fmla="*/ 66 w 89"/>
                <a:gd name="T77" fmla="*/ 139 h 165"/>
                <a:gd name="T78" fmla="*/ 71 w 89"/>
                <a:gd name="T79" fmla="*/ 131 h 165"/>
                <a:gd name="T80" fmla="*/ 73 w 89"/>
                <a:gd name="T81" fmla="*/ 118 h 165"/>
                <a:gd name="T82" fmla="*/ 71 w 89"/>
                <a:gd name="T83" fmla="*/ 108 h 165"/>
                <a:gd name="T84" fmla="*/ 63 w 89"/>
                <a:gd name="T85" fmla="*/ 101 h 165"/>
                <a:gd name="T86" fmla="*/ 53 w 89"/>
                <a:gd name="T87" fmla="*/ 93 h 165"/>
                <a:gd name="T88" fmla="*/ 43 w 89"/>
                <a:gd name="T89" fmla="*/ 87 h 165"/>
                <a:gd name="T90" fmla="*/ 30 w 89"/>
                <a:gd name="T91" fmla="*/ 80 h 165"/>
                <a:gd name="T92" fmla="*/ 19 w 89"/>
                <a:gd name="T93" fmla="*/ 73 h 165"/>
                <a:gd name="T94" fmla="*/ 10 w 89"/>
                <a:gd name="T95" fmla="*/ 64 h 165"/>
                <a:gd name="T96" fmla="*/ 2 w 89"/>
                <a:gd name="T97" fmla="*/ 54 h 165"/>
                <a:gd name="T98" fmla="*/ 0 w 89"/>
                <a:gd name="T99" fmla="*/ 42 h 165"/>
                <a:gd name="T100" fmla="*/ 2 w 89"/>
                <a:gd name="T101" fmla="*/ 27 h 165"/>
                <a:gd name="T102" fmla="*/ 10 w 89"/>
                <a:gd name="T103" fmla="*/ 16 h 165"/>
                <a:gd name="T104" fmla="*/ 20 w 89"/>
                <a:gd name="T105" fmla="*/ 8 h 165"/>
                <a:gd name="T106" fmla="*/ 34 w 89"/>
                <a:gd name="T107" fmla="*/ 2 h 165"/>
                <a:gd name="T108" fmla="*/ 50 w 89"/>
                <a:gd name="T10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9" h="165">
                  <a:moveTo>
                    <a:pt x="50" y="0"/>
                  </a:moveTo>
                  <a:lnTo>
                    <a:pt x="60" y="0"/>
                  </a:lnTo>
                  <a:lnTo>
                    <a:pt x="71" y="2"/>
                  </a:lnTo>
                  <a:lnTo>
                    <a:pt x="81" y="6"/>
                  </a:lnTo>
                  <a:lnTo>
                    <a:pt x="79" y="19"/>
                  </a:lnTo>
                  <a:lnTo>
                    <a:pt x="71" y="16"/>
                  </a:lnTo>
                  <a:lnTo>
                    <a:pt x="61" y="14"/>
                  </a:lnTo>
                  <a:lnTo>
                    <a:pt x="50" y="14"/>
                  </a:lnTo>
                  <a:lnTo>
                    <a:pt x="41" y="15"/>
                  </a:lnTo>
                  <a:lnTo>
                    <a:pt x="31" y="17"/>
                  </a:lnTo>
                  <a:lnTo>
                    <a:pt x="24" y="23"/>
                  </a:lnTo>
                  <a:lnTo>
                    <a:pt x="18" y="30"/>
                  </a:lnTo>
                  <a:lnTo>
                    <a:pt x="16" y="41"/>
                  </a:lnTo>
                  <a:lnTo>
                    <a:pt x="18" y="49"/>
                  </a:lnTo>
                  <a:lnTo>
                    <a:pt x="24" y="57"/>
                  </a:lnTo>
                  <a:lnTo>
                    <a:pt x="31" y="63"/>
                  </a:lnTo>
                  <a:lnTo>
                    <a:pt x="42" y="69"/>
                  </a:lnTo>
                  <a:lnTo>
                    <a:pt x="52" y="75"/>
                  </a:lnTo>
                  <a:lnTo>
                    <a:pt x="63" y="81"/>
                  </a:lnTo>
                  <a:lnTo>
                    <a:pt x="73" y="88"/>
                  </a:lnTo>
                  <a:lnTo>
                    <a:pt x="81" y="96"/>
                  </a:lnTo>
                  <a:lnTo>
                    <a:pt x="87" y="107"/>
                  </a:lnTo>
                  <a:lnTo>
                    <a:pt x="89" y="120"/>
                  </a:lnTo>
                  <a:lnTo>
                    <a:pt x="87" y="134"/>
                  </a:lnTo>
                  <a:lnTo>
                    <a:pt x="80" y="146"/>
                  </a:lnTo>
                  <a:lnTo>
                    <a:pt x="72" y="154"/>
                  </a:lnTo>
                  <a:lnTo>
                    <a:pt x="61" y="159"/>
                  </a:lnTo>
                  <a:lnTo>
                    <a:pt x="49" y="163"/>
                  </a:lnTo>
                  <a:lnTo>
                    <a:pt x="36" y="165"/>
                  </a:lnTo>
                  <a:lnTo>
                    <a:pt x="22" y="164"/>
                  </a:lnTo>
                  <a:lnTo>
                    <a:pt x="10" y="160"/>
                  </a:lnTo>
                  <a:lnTo>
                    <a:pt x="0" y="157"/>
                  </a:lnTo>
                  <a:lnTo>
                    <a:pt x="2" y="141"/>
                  </a:lnTo>
                  <a:lnTo>
                    <a:pt x="12" y="147"/>
                  </a:lnTo>
                  <a:lnTo>
                    <a:pt x="24" y="150"/>
                  </a:lnTo>
                  <a:lnTo>
                    <a:pt x="37" y="151"/>
                  </a:lnTo>
                  <a:lnTo>
                    <a:pt x="48" y="150"/>
                  </a:lnTo>
                  <a:lnTo>
                    <a:pt x="58" y="146"/>
                  </a:lnTo>
                  <a:lnTo>
                    <a:pt x="66" y="139"/>
                  </a:lnTo>
                  <a:lnTo>
                    <a:pt x="71" y="131"/>
                  </a:lnTo>
                  <a:lnTo>
                    <a:pt x="73" y="118"/>
                  </a:lnTo>
                  <a:lnTo>
                    <a:pt x="71" y="108"/>
                  </a:lnTo>
                  <a:lnTo>
                    <a:pt x="63" y="101"/>
                  </a:lnTo>
                  <a:lnTo>
                    <a:pt x="53" y="93"/>
                  </a:lnTo>
                  <a:lnTo>
                    <a:pt x="43" y="87"/>
                  </a:lnTo>
                  <a:lnTo>
                    <a:pt x="30" y="80"/>
                  </a:lnTo>
                  <a:lnTo>
                    <a:pt x="19" y="73"/>
                  </a:lnTo>
                  <a:lnTo>
                    <a:pt x="10" y="64"/>
                  </a:lnTo>
                  <a:lnTo>
                    <a:pt x="2" y="54"/>
                  </a:lnTo>
                  <a:lnTo>
                    <a:pt x="0" y="42"/>
                  </a:lnTo>
                  <a:lnTo>
                    <a:pt x="2" y="27"/>
                  </a:lnTo>
                  <a:lnTo>
                    <a:pt x="10" y="16"/>
                  </a:lnTo>
                  <a:lnTo>
                    <a:pt x="20" y="8"/>
                  </a:lnTo>
                  <a:lnTo>
                    <a:pt x="34" y="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12"/>
            <p:cNvSpPr>
              <a:spLocks/>
            </p:cNvSpPr>
            <p:nvPr userDrawn="1"/>
          </p:nvSpPr>
          <p:spPr bwMode="auto">
            <a:xfrm>
              <a:off x="6981825" y="360363"/>
              <a:ext cx="34925" cy="80963"/>
            </a:xfrm>
            <a:custGeom>
              <a:avLst/>
              <a:gdLst>
                <a:gd name="T0" fmla="*/ 37 w 67"/>
                <a:gd name="T1" fmla="*/ 0 h 152"/>
                <a:gd name="T2" fmla="*/ 37 w 67"/>
                <a:gd name="T3" fmla="*/ 32 h 152"/>
                <a:gd name="T4" fmla="*/ 64 w 67"/>
                <a:gd name="T5" fmla="*/ 32 h 152"/>
                <a:gd name="T6" fmla="*/ 64 w 67"/>
                <a:gd name="T7" fmla="*/ 45 h 152"/>
                <a:gd name="T8" fmla="*/ 37 w 67"/>
                <a:gd name="T9" fmla="*/ 45 h 152"/>
                <a:gd name="T10" fmla="*/ 37 w 67"/>
                <a:gd name="T11" fmla="*/ 120 h 152"/>
                <a:gd name="T12" fmla="*/ 38 w 67"/>
                <a:gd name="T13" fmla="*/ 127 h 152"/>
                <a:gd name="T14" fmla="*/ 40 w 67"/>
                <a:gd name="T15" fmla="*/ 134 h 152"/>
                <a:gd name="T16" fmla="*/ 46 w 67"/>
                <a:gd name="T17" fmla="*/ 138 h 152"/>
                <a:gd name="T18" fmla="*/ 52 w 67"/>
                <a:gd name="T19" fmla="*/ 139 h 152"/>
                <a:gd name="T20" fmla="*/ 57 w 67"/>
                <a:gd name="T21" fmla="*/ 139 h 152"/>
                <a:gd name="T22" fmla="*/ 62 w 67"/>
                <a:gd name="T23" fmla="*/ 138 h 152"/>
                <a:gd name="T24" fmla="*/ 66 w 67"/>
                <a:gd name="T25" fmla="*/ 136 h 152"/>
                <a:gd name="T26" fmla="*/ 67 w 67"/>
                <a:gd name="T27" fmla="*/ 149 h 152"/>
                <a:gd name="T28" fmla="*/ 60 w 67"/>
                <a:gd name="T29" fmla="*/ 151 h 152"/>
                <a:gd name="T30" fmla="*/ 49 w 67"/>
                <a:gd name="T31" fmla="*/ 152 h 152"/>
                <a:gd name="T32" fmla="*/ 38 w 67"/>
                <a:gd name="T33" fmla="*/ 150 h 152"/>
                <a:gd name="T34" fmla="*/ 31 w 67"/>
                <a:gd name="T35" fmla="*/ 146 h 152"/>
                <a:gd name="T36" fmla="*/ 26 w 67"/>
                <a:gd name="T37" fmla="*/ 140 h 152"/>
                <a:gd name="T38" fmla="*/ 24 w 67"/>
                <a:gd name="T39" fmla="*/ 133 h 152"/>
                <a:gd name="T40" fmla="*/ 23 w 67"/>
                <a:gd name="T41" fmla="*/ 123 h 152"/>
                <a:gd name="T42" fmla="*/ 23 w 67"/>
                <a:gd name="T43" fmla="*/ 112 h 152"/>
                <a:gd name="T44" fmla="*/ 23 w 67"/>
                <a:gd name="T45" fmla="*/ 45 h 152"/>
                <a:gd name="T46" fmla="*/ 0 w 67"/>
                <a:gd name="T47" fmla="*/ 45 h 152"/>
                <a:gd name="T48" fmla="*/ 0 w 67"/>
                <a:gd name="T49" fmla="*/ 32 h 152"/>
                <a:gd name="T50" fmla="*/ 23 w 67"/>
                <a:gd name="T51" fmla="*/ 32 h 152"/>
                <a:gd name="T52" fmla="*/ 23 w 67"/>
                <a:gd name="T53" fmla="*/ 4 h 152"/>
                <a:gd name="T54" fmla="*/ 37 w 67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152">
                  <a:moveTo>
                    <a:pt x="37" y="0"/>
                  </a:moveTo>
                  <a:lnTo>
                    <a:pt x="37" y="32"/>
                  </a:lnTo>
                  <a:lnTo>
                    <a:pt x="64" y="32"/>
                  </a:lnTo>
                  <a:lnTo>
                    <a:pt x="64" y="45"/>
                  </a:lnTo>
                  <a:lnTo>
                    <a:pt x="37" y="45"/>
                  </a:lnTo>
                  <a:lnTo>
                    <a:pt x="37" y="120"/>
                  </a:lnTo>
                  <a:lnTo>
                    <a:pt x="38" y="127"/>
                  </a:lnTo>
                  <a:lnTo>
                    <a:pt x="40" y="134"/>
                  </a:lnTo>
                  <a:lnTo>
                    <a:pt x="46" y="138"/>
                  </a:lnTo>
                  <a:lnTo>
                    <a:pt x="52" y="139"/>
                  </a:lnTo>
                  <a:lnTo>
                    <a:pt x="57" y="139"/>
                  </a:lnTo>
                  <a:lnTo>
                    <a:pt x="62" y="138"/>
                  </a:lnTo>
                  <a:lnTo>
                    <a:pt x="66" y="136"/>
                  </a:lnTo>
                  <a:lnTo>
                    <a:pt x="67" y="149"/>
                  </a:lnTo>
                  <a:lnTo>
                    <a:pt x="60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4" y="133"/>
                  </a:lnTo>
                  <a:lnTo>
                    <a:pt x="23" y="123"/>
                  </a:lnTo>
                  <a:lnTo>
                    <a:pt x="23" y="112"/>
                  </a:lnTo>
                  <a:lnTo>
                    <a:pt x="23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3" y="32"/>
                  </a:lnTo>
                  <a:lnTo>
                    <a:pt x="23" y="4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13"/>
            <p:cNvSpPr>
              <a:spLocks noEditPoints="1"/>
            </p:cNvSpPr>
            <p:nvPr userDrawn="1"/>
          </p:nvSpPr>
          <p:spPr bwMode="auto">
            <a:xfrm>
              <a:off x="7024688" y="376238"/>
              <a:ext cx="47625" cy="65088"/>
            </a:xfrm>
            <a:custGeom>
              <a:avLst/>
              <a:gdLst>
                <a:gd name="T0" fmla="*/ 70 w 90"/>
                <a:gd name="T1" fmla="*/ 60 h 122"/>
                <a:gd name="T2" fmla="*/ 60 w 90"/>
                <a:gd name="T3" fmla="*/ 60 h 122"/>
                <a:gd name="T4" fmla="*/ 49 w 90"/>
                <a:gd name="T5" fmla="*/ 61 h 122"/>
                <a:gd name="T6" fmla="*/ 38 w 90"/>
                <a:gd name="T7" fmla="*/ 63 h 122"/>
                <a:gd name="T8" fmla="*/ 30 w 90"/>
                <a:gd name="T9" fmla="*/ 66 h 122"/>
                <a:gd name="T10" fmla="*/ 22 w 90"/>
                <a:gd name="T11" fmla="*/ 72 h 122"/>
                <a:gd name="T12" fmla="*/ 18 w 90"/>
                <a:gd name="T13" fmla="*/ 79 h 122"/>
                <a:gd name="T14" fmla="*/ 16 w 90"/>
                <a:gd name="T15" fmla="*/ 88 h 122"/>
                <a:gd name="T16" fmla="*/ 18 w 90"/>
                <a:gd name="T17" fmla="*/ 98 h 122"/>
                <a:gd name="T18" fmla="*/ 23 w 90"/>
                <a:gd name="T19" fmla="*/ 105 h 122"/>
                <a:gd name="T20" fmla="*/ 31 w 90"/>
                <a:gd name="T21" fmla="*/ 108 h 122"/>
                <a:gd name="T22" fmla="*/ 40 w 90"/>
                <a:gd name="T23" fmla="*/ 109 h 122"/>
                <a:gd name="T24" fmla="*/ 52 w 90"/>
                <a:gd name="T25" fmla="*/ 107 h 122"/>
                <a:gd name="T26" fmla="*/ 62 w 90"/>
                <a:gd name="T27" fmla="*/ 103 h 122"/>
                <a:gd name="T28" fmla="*/ 67 w 90"/>
                <a:gd name="T29" fmla="*/ 96 h 122"/>
                <a:gd name="T30" fmla="*/ 71 w 90"/>
                <a:gd name="T31" fmla="*/ 89 h 122"/>
                <a:gd name="T32" fmla="*/ 74 w 90"/>
                <a:gd name="T33" fmla="*/ 81 h 122"/>
                <a:gd name="T34" fmla="*/ 75 w 90"/>
                <a:gd name="T35" fmla="*/ 74 h 122"/>
                <a:gd name="T36" fmla="*/ 75 w 90"/>
                <a:gd name="T37" fmla="*/ 67 h 122"/>
                <a:gd name="T38" fmla="*/ 75 w 90"/>
                <a:gd name="T39" fmla="*/ 60 h 122"/>
                <a:gd name="T40" fmla="*/ 70 w 90"/>
                <a:gd name="T41" fmla="*/ 60 h 122"/>
                <a:gd name="T42" fmla="*/ 48 w 90"/>
                <a:gd name="T43" fmla="*/ 0 h 122"/>
                <a:gd name="T44" fmla="*/ 63 w 90"/>
                <a:gd name="T45" fmla="*/ 1 h 122"/>
                <a:gd name="T46" fmla="*/ 75 w 90"/>
                <a:gd name="T47" fmla="*/ 6 h 122"/>
                <a:gd name="T48" fmla="*/ 82 w 90"/>
                <a:gd name="T49" fmla="*/ 15 h 122"/>
                <a:gd name="T50" fmla="*/ 87 w 90"/>
                <a:gd name="T51" fmla="*/ 27 h 122"/>
                <a:gd name="T52" fmla="*/ 88 w 90"/>
                <a:gd name="T53" fmla="*/ 43 h 122"/>
                <a:gd name="T54" fmla="*/ 88 w 90"/>
                <a:gd name="T55" fmla="*/ 94 h 122"/>
                <a:gd name="T56" fmla="*/ 88 w 90"/>
                <a:gd name="T57" fmla="*/ 107 h 122"/>
                <a:gd name="T58" fmla="*/ 90 w 90"/>
                <a:gd name="T59" fmla="*/ 119 h 122"/>
                <a:gd name="T60" fmla="*/ 76 w 90"/>
                <a:gd name="T61" fmla="*/ 119 h 122"/>
                <a:gd name="T62" fmla="*/ 76 w 90"/>
                <a:gd name="T63" fmla="*/ 100 h 122"/>
                <a:gd name="T64" fmla="*/ 76 w 90"/>
                <a:gd name="T65" fmla="*/ 100 h 122"/>
                <a:gd name="T66" fmla="*/ 69 w 90"/>
                <a:gd name="T67" fmla="*/ 109 h 122"/>
                <a:gd name="T68" fmla="*/ 60 w 90"/>
                <a:gd name="T69" fmla="*/ 115 h 122"/>
                <a:gd name="T70" fmla="*/ 49 w 90"/>
                <a:gd name="T71" fmla="*/ 120 h 122"/>
                <a:gd name="T72" fmla="*/ 38 w 90"/>
                <a:gd name="T73" fmla="*/ 122 h 122"/>
                <a:gd name="T74" fmla="*/ 24 w 90"/>
                <a:gd name="T75" fmla="*/ 120 h 122"/>
                <a:gd name="T76" fmla="*/ 14 w 90"/>
                <a:gd name="T77" fmla="*/ 115 h 122"/>
                <a:gd name="T78" fmla="*/ 7 w 90"/>
                <a:gd name="T79" fmla="*/ 109 h 122"/>
                <a:gd name="T80" fmla="*/ 3 w 90"/>
                <a:gd name="T81" fmla="*/ 101 h 122"/>
                <a:gd name="T82" fmla="*/ 1 w 90"/>
                <a:gd name="T83" fmla="*/ 95 h 122"/>
                <a:gd name="T84" fmla="*/ 0 w 90"/>
                <a:gd name="T85" fmla="*/ 89 h 122"/>
                <a:gd name="T86" fmla="*/ 2 w 90"/>
                <a:gd name="T87" fmla="*/ 76 h 122"/>
                <a:gd name="T88" fmla="*/ 7 w 90"/>
                <a:gd name="T89" fmla="*/ 66 h 122"/>
                <a:gd name="T90" fmla="*/ 15 w 90"/>
                <a:gd name="T91" fmla="*/ 59 h 122"/>
                <a:gd name="T92" fmla="*/ 24 w 90"/>
                <a:gd name="T93" fmla="*/ 53 h 122"/>
                <a:gd name="T94" fmla="*/ 36 w 90"/>
                <a:gd name="T95" fmla="*/ 50 h 122"/>
                <a:gd name="T96" fmla="*/ 48 w 90"/>
                <a:gd name="T97" fmla="*/ 49 h 122"/>
                <a:gd name="T98" fmla="*/ 60 w 90"/>
                <a:gd name="T99" fmla="*/ 48 h 122"/>
                <a:gd name="T100" fmla="*/ 71 w 90"/>
                <a:gd name="T101" fmla="*/ 48 h 122"/>
                <a:gd name="T102" fmla="*/ 75 w 90"/>
                <a:gd name="T103" fmla="*/ 48 h 122"/>
                <a:gd name="T104" fmla="*/ 75 w 90"/>
                <a:gd name="T105" fmla="*/ 42 h 122"/>
                <a:gd name="T106" fmla="*/ 72 w 90"/>
                <a:gd name="T107" fmla="*/ 29 h 122"/>
                <a:gd name="T108" fmla="*/ 68 w 90"/>
                <a:gd name="T109" fmla="*/ 19 h 122"/>
                <a:gd name="T110" fmla="*/ 60 w 90"/>
                <a:gd name="T111" fmla="*/ 14 h 122"/>
                <a:gd name="T112" fmla="*/ 48 w 90"/>
                <a:gd name="T113" fmla="*/ 12 h 122"/>
                <a:gd name="T114" fmla="*/ 31 w 90"/>
                <a:gd name="T115" fmla="*/ 14 h 122"/>
                <a:gd name="T116" fmla="*/ 14 w 90"/>
                <a:gd name="T117" fmla="*/ 21 h 122"/>
                <a:gd name="T118" fmla="*/ 14 w 90"/>
                <a:gd name="T119" fmla="*/ 7 h 122"/>
                <a:gd name="T120" fmla="*/ 24 w 90"/>
                <a:gd name="T121" fmla="*/ 4 h 122"/>
                <a:gd name="T122" fmla="*/ 36 w 90"/>
                <a:gd name="T123" fmla="*/ 1 h 122"/>
                <a:gd name="T124" fmla="*/ 48 w 90"/>
                <a:gd name="T1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22">
                  <a:moveTo>
                    <a:pt x="70" y="60"/>
                  </a:moveTo>
                  <a:lnTo>
                    <a:pt x="60" y="60"/>
                  </a:lnTo>
                  <a:lnTo>
                    <a:pt x="49" y="61"/>
                  </a:lnTo>
                  <a:lnTo>
                    <a:pt x="38" y="63"/>
                  </a:lnTo>
                  <a:lnTo>
                    <a:pt x="30" y="66"/>
                  </a:lnTo>
                  <a:lnTo>
                    <a:pt x="22" y="72"/>
                  </a:lnTo>
                  <a:lnTo>
                    <a:pt x="18" y="79"/>
                  </a:lnTo>
                  <a:lnTo>
                    <a:pt x="16" y="88"/>
                  </a:lnTo>
                  <a:lnTo>
                    <a:pt x="18" y="98"/>
                  </a:lnTo>
                  <a:lnTo>
                    <a:pt x="23" y="105"/>
                  </a:lnTo>
                  <a:lnTo>
                    <a:pt x="31" y="108"/>
                  </a:lnTo>
                  <a:lnTo>
                    <a:pt x="40" y="109"/>
                  </a:lnTo>
                  <a:lnTo>
                    <a:pt x="52" y="107"/>
                  </a:lnTo>
                  <a:lnTo>
                    <a:pt x="62" y="103"/>
                  </a:lnTo>
                  <a:lnTo>
                    <a:pt x="67" y="96"/>
                  </a:lnTo>
                  <a:lnTo>
                    <a:pt x="71" y="89"/>
                  </a:lnTo>
                  <a:lnTo>
                    <a:pt x="74" y="81"/>
                  </a:lnTo>
                  <a:lnTo>
                    <a:pt x="75" y="74"/>
                  </a:lnTo>
                  <a:lnTo>
                    <a:pt x="75" y="67"/>
                  </a:lnTo>
                  <a:lnTo>
                    <a:pt x="75" y="60"/>
                  </a:lnTo>
                  <a:lnTo>
                    <a:pt x="70" y="60"/>
                  </a:lnTo>
                  <a:close/>
                  <a:moveTo>
                    <a:pt x="48" y="0"/>
                  </a:moveTo>
                  <a:lnTo>
                    <a:pt x="63" y="1"/>
                  </a:lnTo>
                  <a:lnTo>
                    <a:pt x="75" y="6"/>
                  </a:lnTo>
                  <a:lnTo>
                    <a:pt x="82" y="15"/>
                  </a:lnTo>
                  <a:lnTo>
                    <a:pt x="87" y="27"/>
                  </a:lnTo>
                  <a:lnTo>
                    <a:pt x="88" y="43"/>
                  </a:lnTo>
                  <a:lnTo>
                    <a:pt x="88" y="94"/>
                  </a:lnTo>
                  <a:lnTo>
                    <a:pt x="88" y="107"/>
                  </a:lnTo>
                  <a:lnTo>
                    <a:pt x="90" y="119"/>
                  </a:lnTo>
                  <a:lnTo>
                    <a:pt x="76" y="119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69" y="109"/>
                  </a:lnTo>
                  <a:lnTo>
                    <a:pt x="60" y="115"/>
                  </a:lnTo>
                  <a:lnTo>
                    <a:pt x="49" y="120"/>
                  </a:lnTo>
                  <a:lnTo>
                    <a:pt x="38" y="122"/>
                  </a:lnTo>
                  <a:lnTo>
                    <a:pt x="24" y="120"/>
                  </a:lnTo>
                  <a:lnTo>
                    <a:pt x="14" y="115"/>
                  </a:lnTo>
                  <a:lnTo>
                    <a:pt x="7" y="109"/>
                  </a:lnTo>
                  <a:lnTo>
                    <a:pt x="3" y="101"/>
                  </a:lnTo>
                  <a:lnTo>
                    <a:pt x="1" y="95"/>
                  </a:lnTo>
                  <a:lnTo>
                    <a:pt x="0" y="89"/>
                  </a:lnTo>
                  <a:lnTo>
                    <a:pt x="2" y="76"/>
                  </a:lnTo>
                  <a:lnTo>
                    <a:pt x="7" y="66"/>
                  </a:lnTo>
                  <a:lnTo>
                    <a:pt x="15" y="59"/>
                  </a:lnTo>
                  <a:lnTo>
                    <a:pt x="24" y="53"/>
                  </a:lnTo>
                  <a:lnTo>
                    <a:pt x="36" y="50"/>
                  </a:lnTo>
                  <a:lnTo>
                    <a:pt x="48" y="49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5" y="48"/>
                  </a:lnTo>
                  <a:lnTo>
                    <a:pt x="75" y="42"/>
                  </a:lnTo>
                  <a:lnTo>
                    <a:pt x="72" y="29"/>
                  </a:lnTo>
                  <a:lnTo>
                    <a:pt x="68" y="19"/>
                  </a:lnTo>
                  <a:lnTo>
                    <a:pt x="60" y="14"/>
                  </a:lnTo>
                  <a:lnTo>
                    <a:pt x="48" y="12"/>
                  </a:lnTo>
                  <a:lnTo>
                    <a:pt x="31" y="14"/>
                  </a:lnTo>
                  <a:lnTo>
                    <a:pt x="14" y="21"/>
                  </a:lnTo>
                  <a:lnTo>
                    <a:pt x="14" y="7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14"/>
            <p:cNvSpPr>
              <a:spLocks noEditPoints="1"/>
            </p:cNvSpPr>
            <p:nvPr userDrawn="1"/>
          </p:nvSpPr>
          <p:spPr bwMode="auto">
            <a:xfrm>
              <a:off x="7085013" y="349251"/>
              <a:ext cx="52387" cy="92075"/>
            </a:xfrm>
            <a:custGeom>
              <a:avLst/>
              <a:gdLst>
                <a:gd name="T0" fmla="*/ 49 w 99"/>
                <a:gd name="T1" fmla="*/ 64 h 174"/>
                <a:gd name="T2" fmla="*/ 38 w 99"/>
                <a:gd name="T3" fmla="*/ 66 h 174"/>
                <a:gd name="T4" fmla="*/ 29 w 99"/>
                <a:gd name="T5" fmla="*/ 71 h 174"/>
                <a:gd name="T6" fmla="*/ 23 w 99"/>
                <a:gd name="T7" fmla="*/ 80 h 174"/>
                <a:gd name="T8" fmla="*/ 18 w 99"/>
                <a:gd name="T9" fmla="*/ 90 h 174"/>
                <a:gd name="T10" fmla="*/ 16 w 99"/>
                <a:gd name="T11" fmla="*/ 101 h 174"/>
                <a:gd name="T12" fmla="*/ 15 w 99"/>
                <a:gd name="T13" fmla="*/ 113 h 174"/>
                <a:gd name="T14" fmla="*/ 16 w 99"/>
                <a:gd name="T15" fmla="*/ 124 h 174"/>
                <a:gd name="T16" fmla="*/ 18 w 99"/>
                <a:gd name="T17" fmla="*/ 135 h 174"/>
                <a:gd name="T18" fmla="*/ 23 w 99"/>
                <a:gd name="T19" fmla="*/ 145 h 174"/>
                <a:gd name="T20" fmla="*/ 29 w 99"/>
                <a:gd name="T21" fmla="*/ 153 h 174"/>
                <a:gd name="T22" fmla="*/ 38 w 99"/>
                <a:gd name="T23" fmla="*/ 159 h 174"/>
                <a:gd name="T24" fmla="*/ 49 w 99"/>
                <a:gd name="T25" fmla="*/ 161 h 174"/>
                <a:gd name="T26" fmla="*/ 61 w 99"/>
                <a:gd name="T27" fmla="*/ 159 h 174"/>
                <a:gd name="T28" fmla="*/ 70 w 99"/>
                <a:gd name="T29" fmla="*/ 153 h 174"/>
                <a:gd name="T30" fmla="*/ 76 w 99"/>
                <a:gd name="T31" fmla="*/ 145 h 174"/>
                <a:gd name="T32" fmla="*/ 80 w 99"/>
                <a:gd name="T33" fmla="*/ 134 h 174"/>
                <a:gd name="T34" fmla="*/ 84 w 99"/>
                <a:gd name="T35" fmla="*/ 124 h 174"/>
                <a:gd name="T36" fmla="*/ 85 w 99"/>
                <a:gd name="T37" fmla="*/ 113 h 174"/>
                <a:gd name="T38" fmla="*/ 84 w 99"/>
                <a:gd name="T39" fmla="*/ 101 h 174"/>
                <a:gd name="T40" fmla="*/ 80 w 99"/>
                <a:gd name="T41" fmla="*/ 90 h 174"/>
                <a:gd name="T42" fmla="*/ 76 w 99"/>
                <a:gd name="T43" fmla="*/ 81 h 174"/>
                <a:gd name="T44" fmla="*/ 70 w 99"/>
                <a:gd name="T45" fmla="*/ 72 h 174"/>
                <a:gd name="T46" fmla="*/ 61 w 99"/>
                <a:gd name="T47" fmla="*/ 66 h 174"/>
                <a:gd name="T48" fmla="*/ 49 w 99"/>
                <a:gd name="T49" fmla="*/ 64 h 174"/>
                <a:gd name="T50" fmla="*/ 85 w 99"/>
                <a:gd name="T51" fmla="*/ 0 h 174"/>
                <a:gd name="T52" fmla="*/ 99 w 99"/>
                <a:gd name="T53" fmla="*/ 0 h 174"/>
                <a:gd name="T54" fmla="*/ 99 w 99"/>
                <a:gd name="T55" fmla="*/ 171 h 174"/>
                <a:gd name="T56" fmla="*/ 85 w 99"/>
                <a:gd name="T57" fmla="*/ 171 h 174"/>
                <a:gd name="T58" fmla="*/ 85 w 99"/>
                <a:gd name="T59" fmla="*/ 152 h 174"/>
                <a:gd name="T60" fmla="*/ 84 w 99"/>
                <a:gd name="T61" fmla="*/ 152 h 174"/>
                <a:gd name="T62" fmla="*/ 75 w 99"/>
                <a:gd name="T63" fmla="*/ 164 h 174"/>
                <a:gd name="T64" fmla="*/ 62 w 99"/>
                <a:gd name="T65" fmla="*/ 171 h 174"/>
                <a:gd name="T66" fmla="*/ 47 w 99"/>
                <a:gd name="T67" fmla="*/ 174 h 174"/>
                <a:gd name="T68" fmla="*/ 33 w 99"/>
                <a:gd name="T69" fmla="*/ 172 h 174"/>
                <a:gd name="T70" fmla="*/ 21 w 99"/>
                <a:gd name="T71" fmla="*/ 165 h 174"/>
                <a:gd name="T72" fmla="*/ 12 w 99"/>
                <a:gd name="T73" fmla="*/ 156 h 174"/>
                <a:gd name="T74" fmla="*/ 6 w 99"/>
                <a:gd name="T75" fmla="*/ 144 h 174"/>
                <a:gd name="T76" fmla="*/ 1 w 99"/>
                <a:gd name="T77" fmla="*/ 129 h 174"/>
                <a:gd name="T78" fmla="*/ 0 w 99"/>
                <a:gd name="T79" fmla="*/ 113 h 174"/>
                <a:gd name="T80" fmla="*/ 1 w 99"/>
                <a:gd name="T81" fmla="*/ 96 h 174"/>
                <a:gd name="T82" fmla="*/ 5 w 99"/>
                <a:gd name="T83" fmla="*/ 81 h 174"/>
                <a:gd name="T84" fmla="*/ 11 w 99"/>
                <a:gd name="T85" fmla="*/ 69 h 174"/>
                <a:gd name="T86" fmla="*/ 21 w 99"/>
                <a:gd name="T87" fmla="*/ 59 h 174"/>
                <a:gd name="T88" fmla="*/ 32 w 99"/>
                <a:gd name="T89" fmla="*/ 54 h 174"/>
                <a:gd name="T90" fmla="*/ 47 w 99"/>
                <a:gd name="T91" fmla="*/ 52 h 174"/>
                <a:gd name="T92" fmla="*/ 60 w 99"/>
                <a:gd name="T93" fmla="*/ 54 h 174"/>
                <a:gd name="T94" fmla="*/ 70 w 99"/>
                <a:gd name="T95" fmla="*/ 58 h 174"/>
                <a:gd name="T96" fmla="*/ 76 w 99"/>
                <a:gd name="T97" fmla="*/ 64 h 174"/>
                <a:gd name="T98" fmla="*/ 81 w 99"/>
                <a:gd name="T99" fmla="*/ 70 h 174"/>
                <a:gd name="T100" fmla="*/ 84 w 99"/>
                <a:gd name="T101" fmla="*/ 74 h 174"/>
                <a:gd name="T102" fmla="*/ 85 w 99"/>
                <a:gd name="T103" fmla="*/ 74 h 174"/>
                <a:gd name="T104" fmla="*/ 85 w 99"/>
                <a:gd name="T10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74">
                  <a:moveTo>
                    <a:pt x="49" y="64"/>
                  </a:moveTo>
                  <a:lnTo>
                    <a:pt x="38" y="66"/>
                  </a:lnTo>
                  <a:lnTo>
                    <a:pt x="29" y="71"/>
                  </a:lnTo>
                  <a:lnTo>
                    <a:pt x="23" y="80"/>
                  </a:lnTo>
                  <a:lnTo>
                    <a:pt x="18" y="90"/>
                  </a:lnTo>
                  <a:lnTo>
                    <a:pt x="16" y="101"/>
                  </a:lnTo>
                  <a:lnTo>
                    <a:pt x="15" y="113"/>
                  </a:lnTo>
                  <a:lnTo>
                    <a:pt x="16" y="124"/>
                  </a:lnTo>
                  <a:lnTo>
                    <a:pt x="18" y="135"/>
                  </a:lnTo>
                  <a:lnTo>
                    <a:pt x="23" y="145"/>
                  </a:lnTo>
                  <a:lnTo>
                    <a:pt x="29" y="153"/>
                  </a:lnTo>
                  <a:lnTo>
                    <a:pt x="38" y="159"/>
                  </a:lnTo>
                  <a:lnTo>
                    <a:pt x="49" y="161"/>
                  </a:lnTo>
                  <a:lnTo>
                    <a:pt x="61" y="159"/>
                  </a:lnTo>
                  <a:lnTo>
                    <a:pt x="70" y="153"/>
                  </a:lnTo>
                  <a:lnTo>
                    <a:pt x="76" y="145"/>
                  </a:lnTo>
                  <a:lnTo>
                    <a:pt x="80" y="134"/>
                  </a:lnTo>
                  <a:lnTo>
                    <a:pt x="84" y="124"/>
                  </a:lnTo>
                  <a:lnTo>
                    <a:pt x="85" y="113"/>
                  </a:lnTo>
                  <a:lnTo>
                    <a:pt x="84" y="101"/>
                  </a:lnTo>
                  <a:lnTo>
                    <a:pt x="80" y="90"/>
                  </a:lnTo>
                  <a:lnTo>
                    <a:pt x="76" y="81"/>
                  </a:lnTo>
                  <a:lnTo>
                    <a:pt x="70" y="72"/>
                  </a:lnTo>
                  <a:lnTo>
                    <a:pt x="61" y="66"/>
                  </a:lnTo>
                  <a:lnTo>
                    <a:pt x="49" y="64"/>
                  </a:lnTo>
                  <a:close/>
                  <a:moveTo>
                    <a:pt x="85" y="0"/>
                  </a:moveTo>
                  <a:lnTo>
                    <a:pt x="99" y="0"/>
                  </a:lnTo>
                  <a:lnTo>
                    <a:pt x="99" y="171"/>
                  </a:lnTo>
                  <a:lnTo>
                    <a:pt x="85" y="171"/>
                  </a:lnTo>
                  <a:lnTo>
                    <a:pt x="85" y="152"/>
                  </a:lnTo>
                  <a:lnTo>
                    <a:pt x="84" y="152"/>
                  </a:lnTo>
                  <a:lnTo>
                    <a:pt x="75" y="164"/>
                  </a:lnTo>
                  <a:lnTo>
                    <a:pt x="62" y="171"/>
                  </a:lnTo>
                  <a:lnTo>
                    <a:pt x="47" y="174"/>
                  </a:lnTo>
                  <a:lnTo>
                    <a:pt x="33" y="172"/>
                  </a:lnTo>
                  <a:lnTo>
                    <a:pt x="21" y="165"/>
                  </a:lnTo>
                  <a:lnTo>
                    <a:pt x="12" y="156"/>
                  </a:lnTo>
                  <a:lnTo>
                    <a:pt x="6" y="144"/>
                  </a:lnTo>
                  <a:lnTo>
                    <a:pt x="1" y="129"/>
                  </a:lnTo>
                  <a:lnTo>
                    <a:pt x="0" y="113"/>
                  </a:lnTo>
                  <a:lnTo>
                    <a:pt x="1" y="96"/>
                  </a:lnTo>
                  <a:lnTo>
                    <a:pt x="5" y="81"/>
                  </a:lnTo>
                  <a:lnTo>
                    <a:pt x="11" y="69"/>
                  </a:lnTo>
                  <a:lnTo>
                    <a:pt x="21" y="59"/>
                  </a:lnTo>
                  <a:lnTo>
                    <a:pt x="32" y="54"/>
                  </a:lnTo>
                  <a:lnTo>
                    <a:pt x="47" y="52"/>
                  </a:lnTo>
                  <a:lnTo>
                    <a:pt x="60" y="54"/>
                  </a:lnTo>
                  <a:lnTo>
                    <a:pt x="70" y="58"/>
                  </a:lnTo>
                  <a:lnTo>
                    <a:pt x="76" y="64"/>
                  </a:lnTo>
                  <a:lnTo>
                    <a:pt x="81" y="70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15"/>
            <p:cNvSpPr>
              <a:spLocks/>
            </p:cNvSpPr>
            <p:nvPr userDrawn="1"/>
          </p:nvSpPr>
          <p:spPr bwMode="auto">
            <a:xfrm>
              <a:off x="7148513" y="360363"/>
              <a:ext cx="34925" cy="80963"/>
            </a:xfrm>
            <a:custGeom>
              <a:avLst/>
              <a:gdLst>
                <a:gd name="T0" fmla="*/ 36 w 66"/>
                <a:gd name="T1" fmla="*/ 0 h 152"/>
                <a:gd name="T2" fmla="*/ 36 w 66"/>
                <a:gd name="T3" fmla="*/ 32 h 152"/>
                <a:gd name="T4" fmla="*/ 63 w 66"/>
                <a:gd name="T5" fmla="*/ 32 h 152"/>
                <a:gd name="T6" fmla="*/ 63 w 66"/>
                <a:gd name="T7" fmla="*/ 45 h 152"/>
                <a:gd name="T8" fmla="*/ 36 w 66"/>
                <a:gd name="T9" fmla="*/ 45 h 152"/>
                <a:gd name="T10" fmla="*/ 36 w 66"/>
                <a:gd name="T11" fmla="*/ 120 h 152"/>
                <a:gd name="T12" fmla="*/ 37 w 66"/>
                <a:gd name="T13" fmla="*/ 127 h 152"/>
                <a:gd name="T14" fmla="*/ 40 w 66"/>
                <a:gd name="T15" fmla="*/ 134 h 152"/>
                <a:gd name="T16" fmla="*/ 45 w 66"/>
                <a:gd name="T17" fmla="*/ 138 h 152"/>
                <a:gd name="T18" fmla="*/ 52 w 66"/>
                <a:gd name="T19" fmla="*/ 139 h 152"/>
                <a:gd name="T20" fmla="*/ 56 w 66"/>
                <a:gd name="T21" fmla="*/ 139 h 152"/>
                <a:gd name="T22" fmla="*/ 61 w 66"/>
                <a:gd name="T23" fmla="*/ 138 h 152"/>
                <a:gd name="T24" fmla="*/ 65 w 66"/>
                <a:gd name="T25" fmla="*/ 136 h 152"/>
                <a:gd name="T26" fmla="*/ 66 w 66"/>
                <a:gd name="T27" fmla="*/ 149 h 152"/>
                <a:gd name="T28" fmla="*/ 59 w 66"/>
                <a:gd name="T29" fmla="*/ 151 h 152"/>
                <a:gd name="T30" fmla="*/ 49 w 66"/>
                <a:gd name="T31" fmla="*/ 152 h 152"/>
                <a:gd name="T32" fmla="*/ 38 w 66"/>
                <a:gd name="T33" fmla="*/ 150 h 152"/>
                <a:gd name="T34" fmla="*/ 31 w 66"/>
                <a:gd name="T35" fmla="*/ 146 h 152"/>
                <a:gd name="T36" fmla="*/ 26 w 66"/>
                <a:gd name="T37" fmla="*/ 140 h 152"/>
                <a:gd name="T38" fmla="*/ 23 w 66"/>
                <a:gd name="T39" fmla="*/ 133 h 152"/>
                <a:gd name="T40" fmla="*/ 22 w 66"/>
                <a:gd name="T41" fmla="*/ 123 h 152"/>
                <a:gd name="T42" fmla="*/ 22 w 66"/>
                <a:gd name="T43" fmla="*/ 112 h 152"/>
                <a:gd name="T44" fmla="*/ 22 w 66"/>
                <a:gd name="T45" fmla="*/ 45 h 152"/>
                <a:gd name="T46" fmla="*/ 0 w 66"/>
                <a:gd name="T47" fmla="*/ 45 h 152"/>
                <a:gd name="T48" fmla="*/ 0 w 66"/>
                <a:gd name="T49" fmla="*/ 32 h 152"/>
                <a:gd name="T50" fmla="*/ 22 w 66"/>
                <a:gd name="T51" fmla="*/ 32 h 152"/>
                <a:gd name="T52" fmla="*/ 22 w 66"/>
                <a:gd name="T53" fmla="*/ 4 h 152"/>
                <a:gd name="T54" fmla="*/ 36 w 66"/>
                <a:gd name="T5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152">
                  <a:moveTo>
                    <a:pt x="36" y="0"/>
                  </a:moveTo>
                  <a:lnTo>
                    <a:pt x="36" y="32"/>
                  </a:lnTo>
                  <a:lnTo>
                    <a:pt x="63" y="32"/>
                  </a:lnTo>
                  <a:lnTo>
                    <a:pt x="63" y="45"/>
                  </a:lnTo>
                  <a:lnTo>
                    <a:pt x="36" y="45"/>
                  </a:lnTo>
                  <a:lnTo>
                    <a:pt x="36" y="120"/>
                  </a:lnTo>
                  <a:lnTo>
                    <a:pt x="37" y="127"/>
                  </a:lnTo>
                  <a:lnTo>
                    <a:pt x="40" y="134"/>
                  </a:lnTo>
                  <a:lnTo>
                    <a:pt x="45" y="138"/>
                  </a:lnTo>
                  <a:lnTo>
                    <a:pt x="52" y="139"/>
                  </a:lnTo>
                  <a:lnTo>
                    <a:pt x="56" y="139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6" y="149"/>
                  </a:lnTo>
                  <a:lnTo>
                    <a:pt x="59" y="151"/>
                  </a:lnTo>
                  <a:lnTo>
                    <a:pt x="49" y="152"/>
                  </a:lnTo>
                  <a:lnTo>
                    <a:pt x="38" y="150"/>
                  </a:lnTo>
                  <a:lnTo>
                    <a:pt x="31" y="146"/>
                  </a:lnTo>
                  <a:lnTo>
                    <a:pt x="26" y="140"/>
                  </a:lnTo>
                  <a:lnTo>
                    <a:pt x="23" y="133"/>
                  </a:lnTo>
                  <a:lnTo>
                    <a:pt x="22" y="123"/>
                  </a:lnTo>
                  <a:lnTo>
                    <a:pt x="22" y="112"/>
                  </a:lnTo>
                  <a:lnTo>
                    <a:pt x="22" y="45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2" y="32"/>
                  </a:lnTo>
                  <a:lnTo>
                    <a:pt x="22" y="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16"/>
            <p:cNvSpPr>
              <a:spLocks/>
            </p:cNvSpPr>
            <p:nvPr userDrawn="1"/>
          </p:nvSpPr>
          <p:spPr bwMode="auto">
            <a:xfrm>
              <a:off x="7188200" y="377826"/>
              <a:ext cx="90487" cy="61913"/>
            </a:xfrm>
            <a:custGeom>
              <a:avLst/>
              <a:gdLst>
                <a:gd name="T0" fmla="*/ 0 w 173"/>
                <a:gd name="T1" fmla="*/ 0 h 117"/>
                <a:gd name="T2" fmla="*/ 14 w 173"/>
                <a:gd name="T3" fmla="*/ 0 h 117"/>
                <a:gd name="T4" fmla="*/ 45 w 173"/>
                <a:gd name="T5" fmla="*/ 101 h 117"/>
                <a:gd name="T6" fmla="*/ 45 w 173"/>
                <a:gd name="T7" fmla="*/ 101 h 117"/>
                <a:gd name="T8" fmla="*/ 79 w 173"/>
                <a:gd name="T9" fmla="*/ 0 h 117"/>
                <a:gd name="T10" fmla="*/ 96 w 173"/>
                <a:gd name="T11" fmla="*/ 0 h 117"/>
                <a:gd name="T12" fmla="*/ 126 w 173"/>
                <a:gd name="T13" fmla="*/ 101 h 117"/>
                <a:gd name="T14" fmla="*/ 127 w 173"/>
                <a:gd name="T15" fmla="*/ 101 h 117"/>
                <a:gd name="T16" fmla="*/ 159 w 173"/>
                <a:gd name="T17" fmla="*/ 0 h 117"/>
                <a:gd name="T18" fmla="*/ 173 w 173"/>
                <a:gd name="T19" fmla="*/ 0 h 117"/>
                <a:gd name="T20" fmla="*/ 135 w 173"/>
                <a:gd name="T21" fmla="*/ 117 h 117"/>
                <a:gd name="T22" fmla="*/ 117 w 173"/>
                <a:gd name="T23" fmla="*/ 117 h 117"/>
                <a:gd name="T24" fmla="*/ 86 w 173"/>
                <a:gd name="T25" fmla="*/ 16 h 117"/>
                <a:gd name="T26" fmla="*/ 85 w 173"/>
                <a:gd name="T27" fmla="*/ 16 h 117"/>
                <a:gd name="T28" fmla="*/ 54 w 173"/>
                <a:gd name="T29" fmla="*/ 117 h 117"/>
                <a:gd name="T30" fmla="*/ 37 w 173"/>
                <a:gd name="T31" fmla="*/ 117 h 117"/>
                <a:gd name="T32" fmla="*/ 0 w 173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3" h="117">
                  <a:moveTo>
                    <a:pt x="0" y="0"/>
                  </a:moveTo>
                  <a:lnTo>
                    <a:pt x="14" y="0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79" y="0"/>
                  </a:lnTo>
                  <a:lnTo>
                    <a:pt x="96" y="0"/>
                  </a:lnTo>
                  <a:lnTo>
                    <a:pt x="126" y="101"/>
                  </a:lnTo>
                  <a:lnTo>
                    <a:pt x="127" y="101"/>
                  </a:lnTo>
                  <a:lnTo>
                    <a:pt x="159" y="0"/>
                  </a:lnTo>
                  <a:lnTo>
                    <a:pt x="173" y="0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54" y="117"/>
                  </a:lnTo>
                  <a:lnTo>
                    <a:pt x="37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17"/>
            <p:cNvSpPr>
              <a:spLocks noEditPoints="1"/>
            </p:cNvSpPr>
            <p:nvPr userDrawn="1"/>
          </p:nvSpPr>
          <p:spPr bwMode="auto">
            <a:xfrm>
              <a:off x="7285038" y="376238"/>
              <a:ext cx="49212" cy="65088"/>
            </a:xfrm>
            <a:custGeom>
              <a:avLst/>
              <a:gdLst>
                <a:gd name="T0" fmla="*/ 50 w 95"/>
                <a:gd name="T1" fmla="*/ 12 h 122"/>
                <a:gd name="T2" fmla="*/ 39 w 95"/>
                <a:gd name="T3" fmla="*/ 15 h 122"/>
                <a:gd name="T4" fmla="*/ 29 w 95"/>
                <a:gd name="T5" fmla="*/ 21 h 122"/>
                <a:gd name="T6" fmla="*/ 23 w 95"/>
                <a:gd name="T7" fmla="*/ 30 h 122"/>
                <a:gd name="T8" fmla="*/ 18 w 95"/>
                <a:gd name="T9" fmla="*/ 41 h 122"/>
                <a:gd name="T10" fmla="*/ 16 w 95"/>
                <a:gd name="T11" fmla="*/ 52 h 122"/>
                <a:gd name="T12" fmla="*/ 80 w 95"/>
                <a:gd name="T13" fmla="*/ 52 h 122"/>
                <a:gd name="T14" fmla="*/ 79 w 95"/>
                <a:gd name="T15" fmla="*/ 41 h 122"/>
                <a:gd name="T16" fmla="*/ 76 w 95"/>
                <a:gd name="T17" fmla="*/ 30 h 122"/>
                <a:gd name="T18" fmla="*/ 70 w 95"/>
                <a:gd name="T19" fmla="*/ 20 h 122"/>
                <a:gd name="T20" fmla="*/ 62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6 w 95"/>
                <a:gd name="T29" fmla="*/ 7 h 122"/>
                <a:gd name="T30" fmla="*/ 85 w 95"/>
                <a:gd name="T31" fmla="*/ 17 h 122"/>
                <a:gd name="T32" fmla="*/ 91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8 w 95"/>
                <a:gd name="T43" fmla="*/ 79 h 122"/>
                <a:gd name="T44" fmla="*/ 23 w 95"/>
                <a:gd name="T45" fmla="*/ 91 h 122"/>
                <a:gd name="T46" fmla="*/ 30 w 95"/>
                <a:gd name="T47" fmla="*/ 100 h 122"/>
                <a:gd name="T48" fmla="*/ 41 w 95"/>
                <a:gd name="T49" fmla="*/ 107 h 122"/>
                <a:gd name="T50" fmla="*/ 55 w 95"/>
                <a:gd name="T51" fmla="*/ 109 h 122"/>
                <a:gd name="T52" fmla="*/ 66 w 95"/>
                <a:gd name="T53" fmla="*/ 108 h 122"/>
                <a:gd name="T54" fmla="*/ 78 w 95"/>
                <a:gd name="T55" fmla="*/ 105 h 122"/>
                <a:gd name="T56" fmla="*/ 87 w 95"/>
                <a:gd name="T57" fmla="*/ 100 h 122"/>
                <a:gd name="T58" fmla="*/ 87 w 95"/>
                <a:gd name="T59" fmla="*/ 115 h 122"/>
                <a:gd name="T60" fmla="*/ 71 w 95"/>
                <a:gd name="T61" fmla="*/ 120 h 122"/>
                <a:gd name="T62" fmla="*/ 54 w 95"/>
                <a:gd name="T63" fmla="*/ 122 h 122"/>
                <a:gd name="T64" fmla="*/ 37 w 95"/>
                <a:gd name="T65" fmla="*/ 120 h 122"/>
                <a:gd name="T66" fmla="*/ 23 w 95"/>
                <a:gd name="T67" fmla="*/ 113 h 122"/>
                <a:gd name="T68" fmla="*/ 13 w 95"/>
                <a:gd name="T69" fmla="*/ 104 h 122"/>
                <a:gd name="T70" fmla="*/ 6 w 95"/>
                <a:gd name="T71" fmla="*/ 92 h 122"/>
                <a:gd name="T72" fmla="*/ 2 w 95"/>
                <a:gd name="T73" fmla="*/ 77 h 122"/>
                <a:gd name="T74" fmla="*/ 0 w 95"/>
                <a:gd name="T75" fmla="*/ 61 h 122"/>
                <a:gd name="T76" fmla="*/ 3 w 95"/>
                <a:gd name="T77" fmla="*/ 41 h 122"/>
                <a:gd name="T78" fmla="*/ 10 w 95"/>
                <a:gd name="T79" fmla="*/ 23 h 122"/>
                <a:gd name="T80" fmla="*/ 19 w 95"/>
                <a:gd name="T81" fmla="*/ 11 h 122"/>
                <a:gd name="T82" fmla="*/ 33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9" y="15"/>
                  </a:lnTo>
                  <a:lnTo>
                    <a:pt x="29" y="21"/>
                  </a:lnTo>
                  <a:lnTo>
                    <a:pt x="23" y="30"/>
                  </a:lnTo>
                  <a:lnTo>
                    <a:pt x="18" y="41"/>
                  </a:lnTo>
                  <a:lnTo>
                    <a:pt x="16" y="52"/>
                  </a:lnTo>
                  <a:lnTo>
                    <a:pt x="80" y="52"/>
                  </a:lnTo>
                  <a:lnTo>
                    <a:pt x="79" y="41"/>
                  </a:lnTo>
                  <a:lnTo>
                    <a:pt x="76" y="30"/>
                  </a:lnTo>
                  <a:lnTo>
                    <a:pt x="70" y="20"/>
                  </a:lnTo>
                  <a:lnTo>
                    <a:pt x="62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6" y="7"/>
                  </a:lnTo>
                  <a:lnTo>
                    <a:pt x="85" y="17"/>
                  </a:lnTo>
                  <a:lnTo>
                    <a:pt x="91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8" y="79"/>
                  </a:lnTo>
                  <a:lnTo>
                    <a:pt x="23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5" y="109"/>
                  </a:lnTo>
                  <a:lnTo>
                    <a:pt x="66" y="108"/>
                  </a:lnTo>
                  <a:lnTo>
                    <a:pt x="78" y="105"/>
                  </a:lnTo>
                  <a:lnTo>
                    <a:pt x="87" y="100"/>
                  </a:lnTo>
                  <a:lnTo>
                    <a:pt x="87" y="115"/>
                  </a:lnTo>
                  <a:lnTo>
                    <a:pt x="71" y="120"/>
                  </a:lnTo>
                  <a:lnTo>
                    <a:pt x="54" y="122"/>
                  </a:lnTo>
                  <a:lnTo>
                    <a:pt x="37" y="120"/>
                  </a:lnTo>
                  <a:lnTo>
                    <a:pt x="23" y="113"/>
                  </a:lnTo>
                  <a:lnTo>
                    <a:pt x="13" y="104"/>
                  </a:lnTo>
                  <a:lnTo>
                    <a:pt x="6" y="92"/>
                  </a:lnTo>
                  <a:lnTo>
                    <a:pt x="2" y="77"/>
                  </a:lnTo>
                  <a:lnTo>
                    <a:pt x="0" y="61"/>
                  </a:lnTo>
                  <a:lnTo>
                    <a:pt x="3" y="41"/>
                  </a:lnTo>
                  <a:lnTo>
                    <a:pt x="10" y="23"/>
                  </a:lnTo>
                  <a:lnTo>
                    <a:pt x="19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18"/>
            <p:cNvSpPr>
              <a:spLocks/>
            </p:cNvSpPr>
            <p:nvPr userDrawn="1"/>
          </p:nvSpPr>
          <p:spPr bwMode="auto">
            <a:xfrm>
              <a:off x="7348538" y="376238"/>
              <a:ext cx="28575" cy="63500"/>
            </a:xfrm>
            <a:custGeom>
              <a:avLst/>
              <a:gdLst>
                <a:gd name="T0" fmla="*/ 45 w 54"/>
                <a:gd name="T1" fmla="*/ 0 h 119"/>
                <a:gd name="T2" fmla="*/ 48 w 54"/>
                <a:gd name="T3" fmla="*/ 0 h 119"/>
                <a:gd name="T4" fmla="*/ 51 w 54"/>
                <a:gd name="T5" fmla="*/ 1 h 119"/>
                <a:gd name="T6" fmla="*/ 54 w 54"/>
                <a:gd name="T7" fmla="*/ 1 h 119"/>
                <a:gd name="T8" fmla="*/ 54 w 54"/>
                <a:gd name="T9" fmla="*/ 16 h 119"/>
                <a:gd name="T10" fmla="*/ 49 w 54"/>
                <a:gd name="T11" fmla="*/ 15 h 119"/>
                <a:gd name="T12" fmla="*/ 44 w 54"/>
                <a:gd name="T13" fmla="*/ 15 h 119"/>
                <a:gd name="T14" fmla="*/ 34 w 54"/>
                <a:gd name="T15" fmla="*/ 17 h 119"/>
                <a:gd name="T16" fmla="*/ 27 w 54"/>
                <a:gd name="T17" fmla="*/ 22 h 119"/>
                <a:gd name="T18" fmla="*/ 21 w 54"/>
                <a:gd name="T19" fmla="*/ 30 h 119"/>
                <a:gd name="T20" fmla="*/ 18 w 54"/>
                <a:gd name="T21" fmla="*/ 40 h 119"/>
                <a:gd name="T22" fmla="*/ 16 w 54"/>
                <a:gd name="T23" fmla="*/ 50 h 119"/>
                <a:gd name="T24" fmla="*/ 15 w 54"/>
                <a:gd name="T25" fmla="*/ 61 h 119"/>
                <a:gd name="T26" fmla="*/ 15 w 54"/>
                <a:gd name="T27" fmla="*/ 119 h 119"/>
                <a:gd name="T28" fmla="*/ 1 w 54"/>
                <a:gd name="T29" fmla="*/ 119 h 119"/>
                <a:gd name="T30" fmla="*/ 1 w 54"/>
                <a:gd name="T31" fmla="*/ 29 h 119"/>
                <a:gd name="T32" fmla="*/ 1 w 54"/>
                <a:gd name="T33" fmla="*/ 18 h 119"/>
                <a:gd name="T34" fmla="*/ 1 w 54"/>
                <a:gd name="T35" fmla="*/ 11 h 119"/>
                <a:gd name="T36" fmla="*/ 0 w 54"/>
                <a:gd name="T37" fmla="*/ 2 h 119"/>
                <a:gd name="T38" fmla="*/ 14 w 54"/>
                <a:gd name="T39" fmla="*/ 2 h 119"/>
                <a:gd name="T40" fmla="*/ 14 w 54"/>
                <a:gd name="T41" fmla="*/ 25 h 119"/>
                <a:gd name="T42" fmla="*/ 15 w 54"/>
                <a:gd name="T43" fmla="*/ 25 h 119"/>
                <a:gd name="T44" fmla="*/ 19 w 54"/>
                <a:gd name="T45" fmla="*/ 16 h 119"/>
                <a:gd name="T46" fmla="*/ 26 w 54"/>
                <a:gd name="T47" fmla="*/ 7 h 119"/>
                <a:gd name="T48" fmla="*/ 34 w 54"/>
                <a:gd name="T49" fmla="*/ 2 h 119"/>
                <a:gd name="T50" fmla="*/ 45 w 54"/>
                <a:gd name="T5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119">
                  <a:moveTo>
                    <a:pt x="45" y="0"/>
                  </a:moveTo>
                  <a:lnTo>
                    <a:pt x="48" y="0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4" y="16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34" y="17"/>
                  </a:lnTo>
                  <a:lnTo>
                    <a:pt x="27" y="22"/>
                  </a:lnTo>
                  <a:lnTo>
                    <a:pt x="21" y="30"/>
                  </a:lnTo>
                  <a:lnTo>
                    <a:pt x="18" y="40"/>
                  </a:lnTo>
                  <a:lnTo>
                    <a:pt x="16" y="50"/>
                  </a:lnTo>
                  <a:lnTo>
                    <a:pt x="15" y="61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29"/>
                  </a:lnTo>
                  <a:lnTo>
                    <a:pt x="1" y="18"/>
                  </a:lnTo>
                  <a:lnTo>
                    <a:pt x="1" y="11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9" y="16"/>
                  </a:lnTo>
                  <a:lnTo>
                    <a:pt x="26" y="7"/>
                  </a:lnTo>
                  <a:lnTo>
                    <a:pt x="34" y="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19"/>
            <p:cNvSpPr>
              <a:spLocks/>
            </p:cNvSpPr>
            <p:nvPr userDrawn="1"/>
          </p:nvSpPr>
          <p:spPr bwMode="auto">
            <a:xfrm>
              <a:off x="7389813" y="349251"/>
              <a:ext cx="47625" cy="90488"/>
            </a:xfrm>
            <a:custGeom>
              <a:avLst/>
              <a:gdLst>
                <a:gd name="T0" fmla="*/ 0 w 91"/>
                <a:gd name="T1" fmla="*/ 0 h 171"/>
                <a:gd name="T2" fmla="*/ 14 w 91"/>
                <a:gd name="T3" fmla="*/ 0 h 171"/>
                <a:gd name="T4" fmla="*/ 14 w 91"/>
                <a:gd name="T5" fmla="*/ 102 h 171"/>
                <a:gd name="T6" fmla="*/ 66 w 91"/>
                <a:gd name="T7" fmla="*/ 54 h 171"/>
                <a:gd name="T8" fmla="*/ 84 w 91"/>
                <a:gd name="T9" fmla="*/ 54 h 171"/>
                <a:gd name="T10" fmla="*/ 28 w 91"/>
                <a:gd name="T11" fmla="*/ 106 h 171"/>
                <a:gd name="T12" fmla="*/ 91 w 91"/>
                <a:gd name="T13" fmla="*/ 171 h 171"/>
                <a:gd name="T14" fmla="*/ 71 w 91"/>
                <a:gd name="T15" fmla="*/ 171 h 171"/>
                <a:gd name="T16" fmla="*/ 14 w 91"/>
                <a:gd name="T17" fmla="*/ 111 h 171"/>
                <a:gd name="T18" fmla="*/ 14 w 91"/>
                <a:gd name="T19" fmla="*/ 171 h 171"/>
                <a:gd name="T20" fmla="*/ 0 w 91"/>
                <a:gd name="T21" fmla="*/ 171 h 171"/>
                <a:gd name="T22" fmla="*/ 0 w 91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171">
                  <a:moveTo>
                    <a:pt x="0" y="0"/>
                  </a:moveTo>
                  <a:lnTo>
                    <a:pt x="14" y="0"/>
                  </a:lnTo>
                  <a:lnTo>
                    <a:pt x="14" y="102"/>
                  </a:lnTo>
                  <a:lnTo>
                    <a:pt x="66" y="54"/>
                  </a:lnTo>
                  <a:lnTo>
                    <a:pt x="84" y="54"/>
                  </a:lnTo>
                  <a:lnTo>
                    <a:pt x="28" y="106"/>
                  </a:lnTo>
                  <a:lnTo>
                    <a:pt x="91" y="171"/>
                  </a:lnTo>
                  <a:lnTo>
                    <a:pt x="71" y="171"/>
                  </a:lnTo>
                  <a:lnTo>
                    <a:pt x="14" y="111"/>
                  </a:lnTo>
                  <a:lnTo>
                    <a:pt x="14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20"/>
            <p:cNvSpPr>
              <a:spLocks noEditPoints="1"/>
            </p:cNvSpPr>
            <p:nvPr userDrawn="1"/>
          </p:nvSpPr>
          <p:spPr bwMode="auto">
            <a:xfrm>
              <a:off x="7445375" y="376238"/>
              <a:ext cx="50800" cy="65088"/>
            </a:xfrm>
            <a:custGeom>
              <a:avLst/>
              <a:gdLst>
                <a:gd name="T0" fmla="*/ 50 w 95"/>
                <a:gd name="T1" fmla="*/ 12 h 122"/>
                <a:gd name="T2" fmla="*/ 38 w 95"/>
                <a:gd name="T3" fmla="*/ 15 h 122"/>
                <a:gd name="T4" fmla="*/ 28 w 95"/>
                <a:gd name="T5" fmla="*/ 21 h 122"/>
                <a:gd name="T6" fmla="*/ 21 w 95"/>
                <a:gd name="T7" fmla="*/ 30 h 122"/>
                <a:gd name="T8" fmla="*/ 17 w 95"/>
                <a:gd name="T9" fmla="*/ 41 h 122"/>
                <a:gd name="T10" fmla="*/ 16 w 95"/>
                <a:gd name="T11" fmla="*/ 52 h 122"/>
                <a:gd name="T12" fmla="*/ 79 w 95"/>
                <a:gd name="T13" fmla="*/ 52 h 122"/>
                <a:gd name="T14" fmla="*/ 78 w 95"/>
                <a:gd name="T15" fmla="*/ 41 h 122"/>
                <a:gd name="T16" fmla="*/ 74 w 95"/>
                <a:gd name="T17" fmla="*/ 30 h 122"/>
                <a:gd name="T18" fmla="*/ 69 w 95"/>
                <a:gd name="T19" fmla="*/ 20 h 122"/>
                <a:gd name="T20" fmla="*/ 60 w 95"/>
                <a:gd name="T21" fmla="*/ 15 h 122"/>
                <a:gd name="T22" fmla="*/ 50 w 95"/>
                <a:gd name="T23" fmla="*/ 12 h 122"/>
                <a:gd name="T24" fmla="*/ 49 w 95"/>
                <a:gd name="T25" fmla="*/ 0 h 122"/>
                <a:gd name="T26" fmla="*/ 64 w 95"/>
                <a:gd name="T27" fmla="*/ 2 h 122"/>
                <a:gd name="T28" fmla="*/ 75 w 95"/>
                <a:gd name="T29" fmla="*/ 7 h 122"/>
                <a:gd name="T30" fmla="*/ 84 w 95"/>
                <a:gd name="T31" fmla="*/ 17 h 122"/>
                <a:gd name="T32" fmla="*/ 89 w 95"/>
                <a:gd name="T33" fmla="*/ 29 h 122"/>
                <a:gd name="T34" fmla="*/ 94 w 95"/>
                <a:gd name="T35" fmla="*/ 43 h 122"/>
                <a:gd name="T36" fmla="*/ 95 w 95"/>
                <a:gd name="T37" fmla="*/ 58 h 122"/>
                <a:gd name="T38" fmla="*/ 95 w 95"/>
                <a:gd name="T39" fmla="*/ 65 h 122"/>
                <a:gd name="T40" fmla="*/ 16 w 95"/>
                <a:gd name="T41" fmla="*/ 65 h 122"/>
                <a:gd name="T42" fmla="*/ 17 w 95"/>
                <a:gd name="T43" fmla="*/ 79 h 122"/>
                <a:gd name="T44" fmla="*/ 21 w 95"/>
                <a:gd name="T45" fmla="*/ 91 h 122"/>
                <a:gd name="T46" fmla="*/ 30 w 95"/>
                <a:gd name="T47" fmla="*/ 100 h 122"/>
                <a:gd name="T48" fmla="*/ 40 w 95"/>
                <a:gd name="T49" fmla="*/ 107 h 122"/>
                <a:gd name="T50" fmla="*/ 53 w 95"/>
                <a:gd name="T51" fmla="*/ 109 h 122"/>
                <a:gd name="T52" fmla="*/ 65 w 95"/>
                <a:gd name="T53" fmla="*/ 108 h 122"/>
                <a:gd name="T54" fmla="*/ 77 w 95"/>
                <a:gd name="T55" fmla="*/ 105 h 122"/>
                <a:gd name="T56" fmla="*/ 86 w 95"/>
                <a:gd name="T57" fmla="*/ 100 h 122"/>
                <a:gd name="T58" fmla="*/ 86 w 95"/>
                <a:gd name="T59" fmla="*/ 115 h 122"/>
                <a:gd name="T60" fmla="*/ 69 w 95"/>
                <a:gd name="T61" fmla="*/ 120 h 122"/>
                <a:gd name="T62" fmla="*/ 52 w 95"/>
                <a:gd name="T63" fmla="*/ 122 h 122"/>
                <a:gd name="T64" fmla="*/ 35 w 95"/>
                <a:gd name="T65" fmla="*/ 120 h 122"/>
                <a:gd name="T66" fmla="*/ 22 w 95"/>
                <a:gd name="T67" fmla="*/ 113 h 122"/>
                <a:gd name="T68" fmla="*/ 11 w 95"/>
                <a:gd name="T69" fmla="*/ 104 h 122"/>
                <a:gd name="T70" fmla="*/ 5 w 95"/>
                <a:gd name="T71" fmla="*/ 92 h 122"/>
                <a:gd name="T72" fmla="*/ 1 w 95"/>
                <a:gd name="T73" fmla="*/ 77 h 122"/>
                <a:gd name="T74" fmla="*/ 0 w 95"/>
                <a:gd name="T75" fmla="*/ 61 h 122"/>
                <a:gd name="T76" fmla="*/ 2 w 95"/>
                <a:gd name="T77" fmla="*/ 41 h 122"/>
                <a:gd name="T78" fmla="*/ 8 w 95"/>
                <a:gd name="T79" fmla="*/ 23 h 122"/>
                <a:gd name="T80" fmla="*/ 19 w 95"/>
                <a:gd name="T81" fmla="*/ 11 h 122"/>
                <a:gd name="T82" fmla="*/ 32 w 95"/>
                <a:gd name="T83" fmla="*/ 3 h 122"/>
                <a:gd name="T84" fmla="*/ 49 w 95"/>
                <a:gd name="T8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2">
                  <a:moveTo>
                    <a:pt x="50" y="12"/>
                  </a:moveTo>
                  <a:lnTo>
                    <a:pt x="38" y="15"/>
                  </a:lnTo>
                  <a:lnTo>
                    <a:pt x="28" y="21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6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4" y="30"/>
                  </a:lnTo>
                  <a:lnTo>
                    <a:pt x="69" y="20"/>
                  </a:lnTo>
                  <a:lnTo>
                    <a:pt x="60" y="15"/>
                  </a:lnTo>
                  <a:lnTo>
                    <a:pt x="50" y="12"/>
                  </a:lnTo>
                  <a:close/>
                  <a:moveTo>
                    <a:pt x="49" y="0"/>
                  </a:moveTo>
                  <a:lnTo>
                    <a:pt x="64" y="2"/>
                  </a:lnTo>
                  <a:lnTo>
                    <a:pt x="75" y="7"/>
                  </a:lnTo>
                  <a:lnTo>
                    <a:pt x="84" y="17"/>
                  </a:lnTo>
                  <a:lnTo>
                    <a:pt x="89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5"/>
                  </a:lnTo>
                  <a:lnTo>
                    <a:pt x="16" y="65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0" y="107"/>
                  </a:lnTo>
                  <a:lnTo>
                    <a:pt x="53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6" y="100"/>
                  </a:lnTo>
                  <a:lnTo>
                    <a:pt x="86" y="115"/>
                  </a:lnTo>
                  <a:lnTo>
                    <a:pt x="69" y="120"/>
                  </a:lnTo>
                  <a:lnTo>
                    <a:pt x="52" y="122"/>
                  </a:lnTo>
                  <a:lnTo>
                    <a:pt x="35" y="120"/>
                  </a:lnTo>
                  <a:lnTo>
                    <a:pt x="22" y="113"/>
                  </a:lnTo>
                  <a:lnTo>
                    <a:pt x="11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8" y="23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21"/>
            <p:cNvSpPr>
              <a:spLocks/>
            </p:cNvSpPr>
            <p:nvPr userDrawn="1"/>
          </p:nvSpPr>
          <p:spPr bwMode="auto">
            <a:xfrm>
              <a:off x="7027863" y="504826"/>
              <a:ext cx="85725" cy="85725"/>
            </a:xfrm>
            <a:custGeom>
              <a:avLst/>
              <a:gdLst>
                <a:gd name="T0" fmla="*/ 0 w 164"/>
                <a:gd name="T1" fmla="*/ 0 h 160"/>
                <a:gd name="T2" fmla="*/ 25 w 164"/>
                <a:gd name="T3" fmla="*/ 0 h 160"/>
                <a:gd name="T4" fmla="*/ 82 w 164"/>
                <a:gd name="T5" fmla="*/ 140 h 160"/>
                <a:gd name="T6" fmla="*/ 141 w 164"/>
                <a:gd name="T7" fmla="*/ 0 h 160"/>
                <a:gd name="T8" fmla="*/ 164 w 164"/>
                <a:gd name="T9" fmla="*/ 0 h 160"/>
                <a:gd name="T10" fmla="*/ 164 w 164"/>
                <a:gd name="T11" fmla="*/ 160 h 160"/>
                <a:gd name="T12" fmla="*/ 148 w 164"/>
                <a:gd name="T13" fmla="*/ 160 h 160"/>
                <a:gd name="T14" fmla="*/ 148 w 164"/>
                <a:gd name="T15" fmla="*/ 17 h 160"/>
                <a:gd name="T16" fmla="*/ 148 w 164"/>
                <a:gd name="T17" fmla="*/ 17 h 160"/>
                <a:gd name="T18" fmla="*/ 89 w 164"/>
                <a:gd name="T19" fmla="*/ 160 h 160"/>
                <a:gd name="T20" fmla="*/ 76 w 164"/>
                <a:gd name="T21" fmla="*/ 160 h 160"/>
                <a:gd name="T22" fmla="*/ 16 w 164"/>
                <a:gd name="T23" fmla="*/ 17 h 160"/>
                <a:gd name="T24" fmla="*/ 16 w 164"/>
                <a:gd name="T25" fmla="*/ 17 h 160"/>
                <a:gd name="T26" fmla="*/ 16 w 164"/>
                <a:gd name="T27" fmla="*/ 160 h 160"/>
                <a:gd name="T28" fmla="*/ 0 w 164"/>
                <a:gd name="T29" fmla="*/ 160 h 160"/>
                <a:gd name="T30" fmla="*/ 0 w 164"/>
                <a:gd name="T3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60">
                  <a:moveTo>
                    <a:pt x="0" y="0"/>
                  </a:moveTo>
                  <a:lnTo>
                    <a:pt x="25" y="0"/>
                  </a:lnTo>
                  <a:lnTo>
                    <a:pt x="82" y="140"/>
                  </a:lnTo>
                  <a:lnTo>
                    <a:pt x="141" y="0"/>
                  </a:lnTo>
                  <a:lnTo>
                    <a:pt x="164" y="0"/>
                  </a:lnTo>
                  <a:lnTo>
                    <a:pt x="164" y="160"/>
                  </a:lnTo>
                  <a:lnTo>
                    <a:pt x="148" y="160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89" y="160"/>
                  </a:lnTo>
                  <a:lnTo>
                    <a:pt x="76" y="160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0"/>
                  </a:lnTo>
                  <a:lnTo>
                    <a:pt x="0" y="1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22"/>
            <p:cNvSpPr>
              <a:spLocks noEditPoints="1"/>
            </p:cNvSpPr>
            <p:nvPr userDrawn="1"/>
          </p:nvSpPr>
          <p:spPr bwMode="auto">
            <a:xfrm>
              <a:off x="7134225" y="508001"/>
              <a:ext cx="47625" cy="82550"/>
            </a:xfrm>
            <a:custGeom>
              <a:avLst/>
              <a:gdLst>
                <a:gd name="T0" fmla="*/ 0 w 91"/>
                <a:gd name="T1" fmla="*/ 38 h 157"/>
                <a:gd name="T2" fmla="*/ 14 w 91"/>
                <a:gd name="T3" fmla="*/ 38 h 157"/>
                <a:gd name="T4" fmla="*/ 14 w 91"/>
                <a:gd name="T5" fmla="*/ 109 h 157"/>
                <a:gd name="T6" fmla="*/ 15 w 91"/>
                <a:gd name="T7" fmla="*/ 122 h 157"/>
                <a:gd name="T8" fmla="*/ 18 w 91"/>
                <a:gd name="T9" fmla="*/ 131 h 157"/>
                <a:gd name="T10" fmla="*/ 24 w 91"/>
                <a:gd name="T11" fmla="*/ 139 h 157"/>
                <a:gd name="T12" fmla="*/ 31 w 91"/>
                <a:gd name="T13" fmla="*/ 143 h 157"/>
                <a:gd name="T14" fmla="*/ 42 w 91"/>
                <a:gd name="T15" fmla="*/ 145 h 157"/>
                <a:gd name="T16" fmla="*/ 53 w 91"/>
                <a:gd name="T17" fmla="*/ 143 h 157"/>
                <a:gd name="T18" fmla="*/ 62 w 91"/>
                <a:gd name="T19" fmla="*/ 139 h 157"/>
                <a:gd name="T20" fmla="*/ 68 w 91"/>
                <a:gd name="T21" fmla="*/ 131 h 157"/>
                <a:gd name="T22" fmla="*/ 73 w 91"/>
                <a:gd name="T23" fmla="*/ 123 h 157"/>
                <a:gd name="T24" fmla="*/ 75 w 91"/>
                <a:gd name="T25" fmla="*/ 113 h 157"/>
                <a:gd name="T26" fmla="*/ 76 w 91"/>
                <a:gd name="T27" fmla="*/ 102 h 157"/>
                <a:gd name="T28" fmla="*/ 76 w 91"/>
                <a:gd name="T29" fmla="*/ 38 h 157"/>
                <a:gd name="T30" fmla="*/ 90 w 91"/>
                <a:gd name="T31" fmla="*/ 38 h 157"/>
                <a:gd name="T32" fmla="*/ 90 w 91"/>
                <a:gd name="T33" fmla="*/ 127 h 157"/>
                <a:gd name="T34" fmla="*/ 91 w 91"/>
                <a:gd name="T35" fmla="*/ 155 h 157"/>
                <a:gd name="T36" fmla="*/ 77 w 91"/>
                <a:gd name="T37" fmla="*/ 155 h 157"/>
                <a:gd name="T38" fmla="*/ 77 w 91"/>
                <a:gd name="T39" fmla="*/ 134 h 157"/>
                <a:gd name="T40" fmla="*/ 77 w 91"/>
                <a:gd name="T41" fmla="*/ 134 h 157"/>
                <a:gd name="T42" fmla="*/ 74 w 91"/>
                <a:gd name="T43" fmla="*/ 141 h 157"/>
                <a:gd name="T44" fmla="*/ 68 w 91"/>
                <a:gd name="T45" fmla="*/ 146 h 157"/>
                <a:gd name="T46" fmla="*/ 62 w 91"/>
                <a:gd name="T47" fmla="*/ 152 h 157"/>
                <a:gd name="T48" fmla="*/ 52 w 91"/>
                <a:gd name="T49" fmla="*/ 156 h 157"/>
                <a:gd name="T50" fmla="*/ 40 w 91"/>
                <a:gd name="T51" fmla="*/ 157 h 157"/>
                <a:gd name="T52" fmla="*/ 27 w 91"/>
                <a:gd name="T53" fmla="*/ 156 h 157"/>
                <a:gd name="T54" fmla="*/ 16 w 91"/>
                <a:gd name="T55" fmla="*/ 151 h 157"/>
                <a:gd name="T56" fmla="*/ 9 w 91"/>
                <a:gd name="T57" fmla="*/ 145 h 157"/>
                <a:gd name="T58" fmla="*/ 3 w 91"/>
                <a:gd name="T59" fmla="*/ 135 h 157"/>
                <a:gd name="T60" fmla="*/ 1 w 91"/>
                <a:gd name="T61" fmla="*/ 125 h 157"/>
                <a:gd name="T62" fmla="*/ 0 w 91"/>
                <a:gd name="T63" fmla="*/ 113 h 157"/>
                <a:gd name="T64" fmla="*/ 0 w 91"/>
                <a:gd name="T65" fmla="*/ 38 h 157"/>
                <a:gd name="T66" fmla="*/ 56 w 91"/>
                <a:gd name="T67" fmla="*/ 0 h 157"/>
                <a:gd name="T68" fmla="*/ 73 w 91"/>
                <a:gd name="T69" fmla="*/ 0 h 157"/>
                <a:gd name="T70" fmla="*/ 73 w 91"/>
                <a:gd name="T71" fmla="*/ 19 h 157"/>
                <a:gd name="T72" fmla="*/ 56 w 91"/>
                <a:gd name="T73" fmla="*/ 19 h 157"/>
                <a:gd name="T74" fmla="*/ 56 w 91"/>
                <a:gd name="T75" fmla="*/ 0 h 157"/>
                <a:gd name="T76" fmla="*/ 17 w 91"/>
                <a:gd name="T77" fmla="*/ 0 h 157"/>
                <a:gd name="T78" fmla="*/ 34 w 91"/>
                <a:gd name="T79" fmla="*/ 0 h 157"/>
                <a:gd name="T80" fmla="*/ 34 w 91"/>
                <a:gd name="T81" fmla="*/ 19 h 157"/>
                <a:gd name="T82" fmla="*/ 17 w 91"/>
                <a:gd name="T83" fmla="*/ 19 h 157"/>
                <a:gd name="T84" fmla="*/ 17 w 91"/>
                <a:gd name="T8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1" h="157">
                  <a:moveTo>
                    <a:pt x="0" y="38"/>
                  </a:moveTo>
                  <a:lnTo>
                    <a:pt x="14" y="38"/>
                  </a:lnTo>
                  <a:lnTo>
                    <a:pt x="14" y="109"/>
                  </a:lnTo>
                  <a:lnTo>
                    <a:pt x="15" y="122"/>
                  </a:lnTo>
                  <a:lnTo>
                    <a:pt x="18" y="131"/>
                  </a:lnTo>
                  <a:lnTo>
                    <a:pt x="24" y="139"/>
                  </a:lnTo>
                  <a:lnTo>
                    <a:pt x="31" y="143"/>
                  </a:lnTo>
                  <a:lnTo>
                    <a:pt x="42" y="145"/>
                  </a:lnTo>
                  <a:lnTo>
                    <a:pt x="53" y="143"/>
                  </a:lnTo>
                  <a:lnTo>
                    <a:pt x="62" y="139"/>
                  </a:lnTo>
                  <a:lnTo>
                    <a:pt x="68" y="131"/>
                  </a:lnTo>
                  <a:lnTo>
                    <a:pt x="73" y="123"/>
                  </a:lnTo>
                  <a:lnTo>
                    <a:pt x="75" y="113"/>
                  </a:lnTo>
                  <a:lnTo>
                    <a:pt x="76" y="102"/>
                  </a:lnTo>
                  <a:lnTo>
                    <a:pt x="76" y="38"/>
                  </a:lnTo>
                  <a:lnTo>
                    <a:pt x="90" y="38"/>
                  </a:lnTo>
                  <a:lnTo>
                    <a:pt x="90" y="127"/>
                  </a:lnTo>
                  <a:lnTo>
                    <a:pt x="91" y="155"/>
                  </a:lnTo>
                  <a:lnTo>
                    <a:pt x="77" y="15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4" y="141"/>
                  </a:lnTo>
                  <a:lnTo>
                    <a:pt x="68" y="146"/>
                  </a:lnTo>
                  <a:lnTo>
                    <a:pt x="62" y="152"/>
                  </a:lnTo>
                  <a:lnTo>
                    <a:pt x="52" y="156"/>
                  </a:lnTo>
                  <a:lnTo>
                    <a:pt x="40" y="157"/>
                  </a:lnTo>
                  <a:lnTo>
                    <a:pt x="27" y="156"/>
                  </a:lnTo>
                  <a:lnTo>
                    <a:pt x="16" y="151"/>
                  </a:lnTo>
                  <a:lnTo>
                    <a:pt x="9" y="145"/>
                  </a:lnTo>
                  <a:lnTo>
                    <a:pt x="3" y="135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38"/>
                  </a:lnTo>
                  <a:close/>
                  <a:moveTo>
                    <a:pt x="56" y="0"/>
                  </a:moveTo>
                  <a:lnTo>
                    <a:pt x="73" y="0"/>
                  </a:lnTo>
                  <a:lnTo>
                    <a:pt x="73" y="19"/>
                  </a:lnTo>
                  <a:lnTo>
                    <a:pt x="56" y="19"/>
                  </a:lnTo>
                  <a:lnTo>
                    <a:pt x="56" y="0"/>
                  </a:lnTo>
                  <a:close/>
                  <a:moveTo>
                    <a:pt x="17" y="0"/>
                  </a:moveTo>
                  <a:lnTo>
                    <a:pt x="34" y="0"/>
                  </a:lnTo>
                  <a:lnTo>
                    <a:pt x="34" y="19"/>
                  </a:lnTo>
                  <a:lnTo>
                    <a:pt x="17" y="1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23"/>
            <p:cNvSpPr>
              <a:spLocks/>
            </p:cNvSpPr>
            <p:nvPr userDrawn="1"/>
          </p:nvSpPr>
          <p:spPr bwMode="auto">
            <a:xfrm>
              <a:off x="719931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8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6 w 92"/>
                <a:gd name="T21" fmla="*/ 36 h 119"/>
                <a:gd name="T22" fmla="*/ 73 w 92"/>
                <a:gd name="T23" fmla="*/ 26 h 119"/>
                <a:gd name="T24" fmla="*/ 68 w 92"/>
                <a:gd name="T25" fmla="*/ 18 h 119"/>
                <a:gd name="T26" fmla="*/ 60 w 92"/>
                <a:gd name="T27" fmla="*/ 14 h 119"/>
                <a:gd name="T28" fmla="*/ 49 w 92"/>
                <a:gd name="T29" fmla="*/ 12 h 119"/>
                <a:gd name="T30" fmla="*/ 38 w 92"/>
                <a:gd name="T31" fmla="*/ 14 h 119"/>
                <a:gd name="T32" fmla="*/ 29 w 92"/>
                <a:gd name="T33" fmla="*/ 19 h 119"/>
                <a:gd name="T34" fmla="*/ 22 w 92"/>
                <a:gd name="T35" fmla="*/ 26 h 119"/>
                <a:gd name="T36" fmla="*/ 18 w 92"/>
                <a:gd name="T37" fmla="*/ 35 h 119"/>
                <a:gd name="T38" fmla="*/ 16 w 92"/>
                <a:gd name="T39" fmla="*/ 45 h 119"/>
                <a:gd name="T40" fmla="*/ 15 w 92"/>
                <a:gd name="T41" fmla="*/ 55 h 119"/>
                <a:gd name="T42" fmla="*/ 15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4 w 92"/>
                <a:gd name="T55" fmla="*/ 24 h 119"/>
                <a:gd name="T56" fmla="*/ 18 w 92"/>
                <a:gd name="T57" fmla="*/ 17 h 119"/>
                <a:gd name="T58" fmla="*/ 22 w 92"/>
                <a:gd name="T59" fmla="*/ 11 h 119"/>
                <a:gd name="T60" fmla="*/ 30 w 92"/>
                <a:gd name="T61" fmla="*/ 5 h 119"/>
                <a:gd name="T62" fmla="*/ 40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6" y="36"/>
                  </a:lnTo>
                  <a:lnTo>
                    <a:pt x="73" y="26"/>
                  </a:lnTo>
                  <a:lnTo>
                    <a:pt x="68" y="18"/>
                  </a:lnTo>
                  <a:lnTo>
                    <a:pt x="60" y="14"/>
                  </a:lnTo>
                  <a:lnTo>
                    <a:pt x="49" y="12"/>
                  </a:lnTo>
                  <a:lnTo>
                    <a:pt x="38" y="14"/>
                  </a:lnTo>
                  <a:lnTo>
                    <a:pt x="29" y="19"/>
                  </a:lnTo>
                  <a:lnTo>
                    <a:pt x="22" y="26"/>
                  </a:lnTo>
                  <a:lnTo>
                    <a:pt x="18" y="35"/>
                  </a:lnTo>
                  <a:lnTo>
                    <a:pt x="16" y="45"/>
                  </a:lnTo>
                  <a:lnTo>
                    <a:pt x="15" y="55"/>
                  </a:lnTo>
                  <a:lnTo>
                    <a:pt x="15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7"/>
                  </a:lnTo>
                  <a:lnTo>
                    <a:pt x="22" y="11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24"/>
            <p:cNvSpPr>
              <a:spLocks/>
            </p:cNvSpPr>
            <p:nvPr userDrawn="1"/>
          </p:nvSpPr>
          <p:spPr bwMode="auto">
            <a:xfrm>
              <a:off x="7262813" y="527051"/>
              <a:ext cx="44450" cy="63500"/>
            </a:xfrm>
            <a:custGeom>
              <a:avLst/>
              <a:gdLst>
                <a:gd name="T0" fmla="*/ 57 w 85"/>
                <a:gd name="T1" fmla="*/ 0 h 121"/>
                <a:gd name="T2" fmla="*/ 69 w 85"/>
                <a:gd name="T3" fmla="*/ 1 h 121"/>
                <a:gd name="T4" fmla="*/ 79 w 85"/>
                <a:gd name="T5" fmla="*/ 2 h 121"/>
                <a:gd name="T6" fmla="*/ 85 w 85"/>
                <a:gd name="T7" fmla="*/ 4 h 121"/>
                <a:gd name="T8" fmla="*/ 84 w 85"/>
                <a:gd name="T9" fmla="*/ 18 h 121"/>
                <a:gd name="T10" fmla="*/ 71 w 85"/>
                <a:gd name="T11" fmla="*/ 14 h 121"/>
                <a:gd name="T12" fmla="*/ 59 w 85"/>
                <a:gd name="T13" fmla="*/ 12 h 121"/>
                <a:gd name="T14" fmla="*/ 43 w 85"/>
                <a:gd name="T15" fmla="*/ 15 h 121"/>
                <a:gd name="T16" fmla="*/ 32 w 85"/>
                <a:gd name="T17" fmla="*/ 21 h 121"/>
                <a:gd name="T18" fmla="*/ 23 w 85"/>
                <a:gd name="T19" fmla="*/ 31 h 121"/>
                <a:gd name="T20" fmla="*/ 18 w 85"/>
                <a:gd name="T21" fmla="*/ 45 h 121"/>
                <a:gd name="T22" fmla="*/ 16 w 85"/>
                <a:gd name="T23" fmla="*/ 61 h 121"/>
                <a:gd name="T24" fmla="*/ 18 w 85"/>
                <a:gd name="T25" fmla="*/ 76 h 121"/>
                <a:gd name="T26" fmla="*/ 23 w 85"/>
                <a:gd name="T27" fmla="*/ 89 h 121"/>
                <a:gd name="T28" fmla="*/ 32 w 85"/>
                <a:gd name="T29" fmla="*/ 99 h 121"/>
                <a:gd name="T30" fmla="*/ 43 w 85"/>
                <a:gd name="T31" fmla="*/ 107 h 121"/>
                <a:gd name="T32" fmla="*/ 57 w 85"/>
                <a:gd name="T33" fmla="*/ 109 h 121"/>
                <a:gd name="T34" fmla="*/ 71 w 85"/>
                <a:gd name="T35" fmla="*/ 108 h 121"/>
                <a:gd name="T36" fmla="*/ 84 w 85"/>
                <a:gd name="T37" fmla="*/ 104 h 121"/>
                <a:gd name="T38" fmla="*/ 85 w 85"/>
                <a:gd name="T39" fmla="*/ 118 h 121"/>
                <a:gd name="T40" fmla="*/ 70 w 85"/>
                <a:gd name="T41" fmla="*/ 121 h 121"/>
                <a:gd name="T42" fmla="*/ 55 w 85"/>
                <a:gd name="T43" fmla="*/ 121 h 121"/>
                <a:gd name="T44" fmla="*/ 38 w 85"/>
                <a:gd name="T45" fmla="*/ 119 h 121"/>
                <a:gd name="T46" fmla="*/ 24 w 85"/>
                <a:gd name="T47" fmla="*/ 112 h 121"/>
                <a:gd name="T48" fmla="*/ 13 w 85"/>
                <a:gd name="T49" fmla="*/ 103 h 121"/>
                <a:gd name="T50" fmla="*/ 6 w 85"/>
                <a:gd name="T51" fmla="*/ 91 h 121"/>
                <a:gd name="T52" fmla="*/ 2 w 85"/>
                <a:gd name="T53" fmla="*/ 76 h 121"/>
                <a:gd name="T54" fmla="*/ 0 w 85"/>
                <a:gd name="T55" fmla="*/ 61 h 121"/>
                <a:gd name="T56" fmla="*/ 2 w 85"/>
                <a:gd name="T57" fmla="*/ 44 h 121"/>
                <a:gd name="T58" fmla="*/ 7 w 85"/>
                <a:gd name="T59" fmla="*/ 29 h 121"/>
                <a:gd name="T60" fmla="*/ 16 w 85"/>
                <a:gd name="T61" fmla="*/ 17 h 121"/>
                <a:gd name="T62" fmla="*/ 27 w 85"/>
                <a:gd name="T63" fmla="*/ 8 h 121"/>
                <a:gd name="T64" fmla="*/ 41 w 85"/>
                <a:gd name="T65" fmla="*/ 2 h 121"/>
                <a:gd name="T66" fmla="*/ 57 w 85"/>
                <a:gd name="T6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21">
                  <a:moveTo>
                    <a:pt x="57" y="0"/>
                  </a:moveTo>
                  <a:lnTo>
                    <a:pt x="69" y="1"/>
                  </a:lnTo>
                  <a:lnTo>
                    <a:pt x="79" y="2"/>
                  </a:lnTo>
                  <a:lnTo>
                    <a:pt x="85" y="4"/>
                  </a:lnTo>
                  <a:lnTo>
                    <a:pt x="84" y="18"/>
                  </a:lnTo>
                  <a:lnTo>
                    <a:pt x="71" y="14"/>
                  </a:lnTo>
                  <a:lnTo>
                    <a:pt x="59" y="12"/>
                  </a:lnTo>
                  <a:lnTo>
                    <a:pt x="43" y="15"/>
                  </a:lnTo>
                  <a:lnTo>
                    <a:pt x="32" y="21"/>
                  </a:lnTo>
                  <a:lnTo>
                    <a:pt x="23" y="31"/>
                  </a:lnTo>
                  <a:lnTo>
                    <a:pt x="18" y="45"/>
                  </a:lnTo>
                  <a:lnTo>
                    <a:pt x="16" y="61"/>
                  </a:lnTo>
                  <a:lnTo>
                    <a:pt x="18" y="76"/>
                  </a:lnTo>
                  <a:lnTo>
                    <a:pt x="23" y="89"/>
                  </a:lnTo>
                  <a:lnTo>
                    <a:pt x="32" y="99"/>
                  </a:lnTo>
                  <a:lnTo>
                    <a:pt x="43" y="107"/>
                  </a:lnTo>
                  <a:lnTo>
                    <a:pt x="57" y="109"/>
                  </a:lnTo>
                  <a:lnTo>
                    <a:pt x="71" y="108"/>
                  </a:lnTo>
                  <a:lnTo>
                    <a:pt x="84" y="104"/>
                  </a:lnTo>
                  <a:lnTo>
                    <a:pt x="85" y="118"/>
                  </a:lnTo>
                  <a:lnTo>
                    <a:pt x="70" y="121"/>
                  </a:lnTo>
                  <a:lnTo>
                    <a:pt x="55" y="121"/>
                  </a:lnTo>
                  <a:lnTo>
                    <a:pt x="38" y="119"/>
                  </a:lnTo>
                  <a:lnTo>
                    <a:pt x="24" y="112"/>
                  </a:lnTo>
                  <a:lnTo>
                    <a:pt x="13" y="103"/>
                  </a:lnTo>
                  <a:lnTo>
                    <a:pt x="6" y="91"/>
                  </a:lnTo>
                  <a:lnTo>
                    <a:pt x="2" y="76"/>
                  </a:lnTo>
                  <a:lnTo>
                    <a:pt x="0" y="61"/>
                  </a:lnTo>
                  <a:lnTo>
                    <a:pt x="2" y="44"/>
                  </a:lnTo>
                  <a:lnTo>
                    <a:pt x="7" y="29"/>
                  </a:lnTo>
                  <a:lnTo>
                    <a:pt x="16" y="17"/>
                  </a:lnTo>
                  <a:lnTo>
                    <a:pt x="27" y="8"/>
                  </a:lnTo>
                  <a:lnTo>
                    <a:pt x="41" y="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25"/>
            <p:cNvSpPr>
              <a:spLocks/>
            </p:cNvSpPr>
            <p:nvPr userDrawn="1"/>
          </p:nvSpPr>
          <p:spPr bwMode="auto">
            <a:xfrm>
              <a:off x="7321550" y="500063"/>
              <a:ext cx="46037" cy="90488"/>
            </a:xfrm>
            <a:custGeom>
              <a:avLst/>
              <a:gdLst>
                <a:gd name="T0" fmla="*/ 0 w 89"/>
                <a:gd name="T1" fmla="*/ 0 h 171"/>
                <a:gd name="T2" fmla="*/ 13 w 89"/>
                <a:gd name="T3" fmla="*/ 0 h 171"/>
                <a:gd name="T4" fmla="*/ 13 w 89"/>
                <a:gd name="T5" fmla="*/ 74 h 171"/>
                <a:gd name="T6" fmla="*/ 13 w 89"/>
                <a:gd name="T7" fmla="*/ 74 h 171"/>
                <a:gd name="T8" fmla="*/ 20 w 89"/>
                <a:gd name="T9" fmla="*/ 65 h 171"/>
                <a:gd name="T10" fmla="*/ 28 w 89"/>
                <a:gd name="T11" fmla="*/ 58 h 171"/>
                <a:gd name="T12" fmla="*/ 38 w 89"/>
                <a:gd name="T13" fmla="*/ 53 h 171"/>
                <a:gd name="T14" fmla="*/ 50 w 89"/>
                <a:gd name="T15" fmla="*/ 52 h 171"/>
                <a:gd name="T16" fmla="*/ 64 w 89"/>
                <a:gd name="T17" fmla="*/ 53 h 171"/>
                <a:gd name="T18" fmla="*/ 74 w 89"/>
                <a:gd name="T19" fmla="*/ 58 h 171"/>
                <a:gd name="T20" fmla="*/ 82 w 89"/>
                <a:gd name="T21" fmla="*/ 66 h 171"/>
                <a:gd name="T22" fmla="*/ 86 w 89"/>
                <a:gd name="T23" fmla="*/ 76 h 171"/>
                <a:gd name="T24" fmla="*/ 89 w 89"/>
                <a:gd name="T25" fmla="*/ 87 h 171"/>
                <a:gd name="T26" fmla="*/ 89 w 89"/>
                <a:gd name="T27" fmla="*/ 101 h 171"/>
                <a:gd name="T28" fmla="*/ 89 w 89"/>
                <a:gd name="T29" fmla="*/ 171 h 171"/>
                <a:gd name="T30" fmla="*/ 75 w 89"/>
                <a:gd name="T31" fmla="*/ 171 h 171"/>
                <a:gd name="T32" fmla="*/ 75 w 89"/>
                <a:gd name="T33" fmla="*/ 101 h 171"/>
                <a:gd name="T34" fmla="*/ 75 w 89"/>
                <a:gd name="T35" fmla="*/ 92 h 171"/>
                <a:gd name="T36" fmla="*/ 73 w 89"/>
                <a:gd name="T37" fmla="*/ 83 h 171"/>
                <a:gd name="T38" fmla="*/ 70 w 89"/>
                <a:gd name="T39" fmla="*/ 76 h 171"/>
                <a:gd name="T40" fmla="*/ 66 w 89"/>
                <a:gd name="T41" fmla="*/ 69 h 171"/>
                <a:gd name="T42" fmla="*/ 58 w 89"/>
                <a:gd name="T43" fmla="*/ 66 h 171"/>
                <a:gd name="T44" fmla="*/ 48 w 89"/>
                <a:gd name="T45" fmla="*/ 64 h 171"/>
                <a:gd name="T46" fmla="*/ 36 w 89"/>
                <a:gd name="T47" fmla="*/ 66 h 171"/>
                <a:gd name="T48" fmla="*/ 27 w 89"/>
                <a:gd name="T49" fmla="*/ 71 h 171"/>
                <a:gd name="T50" fmla="*/ 21 w 89"/>
                <a:gd name="T51" fmla="*/ 79 h 171"/>
                <a:gd name="T52" fmla="*/ 17 w 89"/>
                <a:gd name="T53" fmla="*/ 88 h 171"/>
                <a:gd name="T54" fmla="*/ 15 w 89"/>
                <a:gd name="T55" fmla="*/ 98 h 171"/>
                <a:gd name="T56" fmla="*/ 13 w 89"/>
                <a:gd name="T57" fmla="*/ 109 h 171"/>
                <a:gd name="T58" fmla="*/ 13 w 89"/>
                <a:gd name="T59" fmla="*/ 171 h 171"/>
                <a:gd name="T60" fmla="*/ 0 w 89"/>
                <a:gd name="T61" fmla="*/ 171 h 171"/>
                <a:gd name="T62" fmla="*/ 0 w 89"/>
                <a:gd name="T6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171">
                  <a:moveTo>
                    <a:pt x="0" y="0"/>
                  </a:moveTo>
                  <a:lnTo>
                    <a:pt x="13" y="0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20" y="65"/>
                  </a:lnTo>
                  <a:lnTo>
                    <a:pt x="28" y="58"/>
                  </a:lnTo>
                  <a:lnTo>
                    <a:pt x="38" y="53"/>
                  </a:lnTo>
                  <a:lnTo>
                    <a:pt x="50" y="52"/>
                  </a:lnTo>
                  <a:lnTo>
                    <a:pt x="64" y="53"/>
                  </a:lnTo>
                  <a:lnTo>
                    <a:pt x="74" y="58"/>
                  </a:lnTo>
                  <a:lnTo>
                    <a:pt x="82" y="66"/>
                  </a:lnTo>
                  <a:lnTo>
                    <a:pt x="86" y="76"/>
                  </a:lnTo>
                  <a:lnTo>
                    <a:pt x="89" y="87"/>
                  </a:lnTo>
                  <a:lnTo>
                    <a:pt x="89" y="101"/>
                  </a:lnTo>
                  <a:lnTo>
                    <a:pt x="89" y="171"/>
                  </a:lnTo>
                  <a:lnTo>
                    <a:pt x="75" y="17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3" y="83"/>
                  </a:lnTo>
                  <a:lnTo>
                    <a:pt x="70" y="76"/>
                  </a:lnTo>
                  <a:lnTo>
                    <a:pt x="66" y="69"/>
                  </a:lnTo>
                  <a:lnTo>
                    <a:pt x="58" y="66"/>
                  </a:lnTo>
                  <a:lnTo>
                    <a:pt x="48" y="64"/>
                  </a:lnTo>
                  <a:lnTo>
                    <a:pt x="36" y="66"/>
                  </a:lnTo>
                  <a:lnTo>
                    <a:pt x="27" y="71"/>
                  </a:lnTo>
                  <a:lnTo>
                    <a:pt x="21" y="79"/>
                  </a:lnTo>
                  <a:lnTo>
                    <a:pt x="17" y="88"/>
                  </a:lnTo>
                  <a:lnTo>
                    <a:pt x="15" y="98"/>
                  </a:lnTo>
                  <a:lnTo>
                    <a:pt x="13" y="109"/>
                  </a:lnTo>
                  <a:lnTo>
                    <a:pt x="13" y="171"/>
                  </a:lnTo>
                  <a:lnTo>
                    <a:pt x="0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26"/>
            <p:cNvSpPr>
              <a:spLocks noEditPoints="1"/>
            </p:cNvSpPr>
            <p:nvPr userDrawn="1"/>
          </p:nvSpPr>
          <p:spPr bwMode="auto">
            <a:xfrm>
              <a:off x="7383463" y="527051"/>
              <a:ext cx="49212" cy="63500"/>
            </a:xfrm>
            <a:custGeom>
              <a:avLst/>
              <a:gdLst>
                <a:gd name="T0" fmla="*/ 49 w 95"/>
                <a:gd name="T1" fmla="*/ 12 h 121"/>
                <a:gd name="T2" fmla="*/ 37 w 95"/>
                <a:gd name="T3" fmla="*/ 15 h 121"/>
                <a:gd name="T4" fmla="*/ 29 w 95"/>
                <a:gd name="T5" fmla="*/ 20 h 121"/>
                <a:gd name="T6" fmla="*/ 21 w 95"/>
                <a:gd name="T7" fmla="*/ 30 h 121"/>
                <a:gd name="T8" fmla="*/ 17 w 95"/>
                <a:gd name="T9" fmla="*/ 41 h 121"/>
                <a:gd name="T10" fmla="*/ 15 w 95"/>
                <a:gd name="T11" fmla="*/ 52 h 121"/>
                <a:gd name="T12" fmla="*/ 79 w 95"/>
                <a:gd name="T13" fmla="*/ 52 h 121"/>
                <a:gd name="T14" fmla="*/ 78 w 95"/>
                <a:gd name="T15" fmla="*/ 41 h 121"/>
                <a:gd name="T16" fmla="*/ 75 w 95"/>
                <a:gd name="T17" fmla="*/ 30 h 121"/>
                <a:gd name="T18" fmla="*/ 70 w 95"/>
                <a:gd name="T19" fmla="*/ 20 h 121"/>
                <a:gd name="T20" fmla="*/ 61 w 95"/>
                <a:gd name="T21" fmla="*/ 14 h 121"/>
                <a:gd name="T22" fmla="*/ 49 w 95"/>
                <a:gd name="T23" fmla="*/ 12 h 121"/>
                <a:gd name="T24" fmla="*/ 49 w 95"/>
                <a:gd name="T25" fmla="*/ 0 h 121"/>
                <a:gd name="T26" fmla="*/ 63 w 95"/>
                <a:gd name="T27" fmla="*/ 2 h 121"/>
                <a:gd name="T28" fmla="*/ 75 w 95"/>
                <a:gd name="T29" fmla="*/ 8 h 121"/>
                <a:gd name="T30" fmla="*/ 84 w 95"/>
                <a:gd name="T31" fmla="*/ 17 h 121"/>
                <a:gd name="T32" fmla="*/ 90 w 95"/>
                <a:gd name="T33" fmla="*/ 29 h 121"/>
                <a:gd name="T34" fmla="*/ 94 w 95"/>
                <a:gd name="T35" fmla="*/ 43 h 121"/>
                <a:gd name="T36" fmla="*/ 95 w 95"/>
                <a:gd name="T37" fmla="*/ 58 h 121"/>
                <a:gd name="T38" fmla="*/ 95 w 95"/>
                <a:gd name="T39" fmla="*/ 64 h 121"/>
                <a:gd name="T40" fmla="*/ 15 w 95"/>
                <a:gd name="T41" fmla="*/ 64 h 121"/>
                <a:gd name="T42" fmla="*/ 17 w 95"/>
                <a:gd name="T43" fmla="*/ 79 h 121"/>
                <a:gd name="T44" fmla="*/ 21 w 95"/>
                <a:gd name="T45" fmla="*/ 91 h 121"/>
                <a:gd name="T46" fmla="*/ 30 w 95"/>
                <a:gd name="T47" fmla="*/ 100 h 121"/>
                <a:gd name="T48" fmla="*/ 41 w 95"/>
                <a:gd name="T49" fmla="*/ 107 h 121"/>
                <a:gd name="T50" fmla="*/ 54 w 95"/>
                <a:gd name="T51" fmla="*/ 109 h 121"/>
                <a:gd name="T52" fmla="*/ 65 w 95"/>
                <a:gd name="T53" fmla="*/ 108 h 121"/>
                <a:gd name="T54" fmla="*/ 77 w 95"/>
                <a:gd name="T55" fmla="*/ 105 h 121"/>
                <a:gd name="T56" fmla="*/ 87 w 95"/>
                <a:gd name="T57" fmla="*/ 100 h 121"/>
                <a:gd name="T58" fmla="*/ 87 w 95"/>
                <a:gd name="T59" fmla="*/ 114 h 121"/>
                <a:gd name="T60" fmla="*/ 70 w 95"/>
                <a:gd name="T61" fmla="*/ 120 h 121"/>
                <a:gd name="T62" fmla="*/ 52 w 95"/>
                <a:gd name="T63" fmla="*/ 121 h 121"/>
                <a:gd name="T64" fmla="*/ 35 w 95"/>
                <a:gd name="T65" fmla="*/ 120 h 121"/>
                <a:gd name="T66" fmla="*/ 21 w 95"/>
                <a:gd name="T67" fmla="*/ 113 h 121"/>
                <a:gd name="T68" fmla="*/ 12 w 95"/>
                <a:gd name="T69" fmla="*/ 104 h 121"/>
                <a:gd name="T70" fmla="*/ 5 w 95"/>
                <a:gd name="T71" fmla="*/ 92 h 121"/>
                <a:gd name="T72" fmla="*/ 1 w 95"/>
                <a:gd name="T73" fmla="*/ 77 h 121"/>
                <a:gd name="T74" fmla="*/ 0 w 95"/>
                <a:gd name="T75" fmla="*/ 61 h 121"/>
                <a:gd name="T76" fmla="*/ 2 w 95"/>
                <a:gd name="T77" fmla="*/ 41 h 121"/>
                <a:gd name="T78" fmla="*/ 9 w 95"/>
                <a:gd name="T79" fmla="*/ 24 h 121"/>
                <a:gd name="T80" fmla="*/ 19 w 95"/>
                <a:gd name="T81" fmla="*/ 11 h 121"/>
                <a:gd name="T82" fmla="*/ 32 w 95"/>
                <a:gd name="T83" fmla="*/ 3 h 121"/>
                <a:gd name="T84" fmla="*/ 49 w 95"/>
                <a:gd name="T8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21">
                  <a:moveTo>
                    <a:pt x="49" y="12"/>
                  </a:moveTo>
                  <a:lnTo>
                    <a:pt x="37" y="15"/>
                  </a:lnTo>
                  <a:lnTo>
                    <a:pt x="29" y="20"/>
                  </a:lnTo>
                  <a:lnTo>
                    <a:pt x="21" y="30"/>
                  </a:lnTo>
                  <a:lnTo>
                    <a:pt x="17" y="41"/>
                  </a:lnTo>
                  <a:lnTo>
                    <a:pt x="15" y="52"/>
                  </a:lnTo>
                  <a:lnTo>
                    <a:pt x="79" y="52"/>
                  </a:lnTo>
                  <a:lnTo>
                    <a:pt x="78" y="41"/>
                  </a:lnTo>
                  <a:lnTo>
                    <a:pt x="75" y="30"/>
                  </a:lnTo>
                  <a:lnTo>
                    <a:pt x="70" y="20"/>
                  </a:lnTo>
                  <a:lnTo>
                    <a:pt x="61" y="14"/>
                  </a:lnTo>
                  <a:lnTo>
                    <a:pt x="49" y="12"/>
                  </a:lnTo>
                  <a:close/>
                  <a:moveTo>
                    <a:pt x="49" y="0"/>
                  </a:moveTo>
                  <a:lnTo>
                    <a:pt x="63" y="2"/>
                  </a:lnTo>
                  <a:lnTo>
                    <a:pt x="75" y="8"/>
                  </a:lnTo>
                  <a:lnTo>
                    <a:pt x="84" y="17"/>
                  </a:lnTo>
                  <a:lnTo>
                    <a:pt x="90" y="29"/>
                  </a:lnTo>
                  <a:lnTo>
                    <a:pt x="94" y="43"/>
                  </a:lnTo>
                  <a:lnTo>
                    <a:pt x="95" y="58"/>
                  </a:lnTo>
                  <a:lnTo>
                    <a:pt x="95" y="64"/>
                  </a:lnTo>
                  <a:lnTo>
                    <a:pt x="15" y="64"/>
                  </a:lnTo>
                  <a:lnTo>
                    <a:pt x="17" y="79"/>
                  </a:lnTo>
                  <a:lnTo>
                    <a:pt x="21" y="91"/>
                  </a:lnTo>
                  <a:lnTo>
                    <a:pt x="30" y="100"/>
                  </a:lnTo>
                  <a:lnTo>
                    <a:pt x="41" y="107"/>
                  </a:lnTo>
                  <a:lnTo>
                    <a:pt x="54" y="109"/>
                  </a:lnTo>
                  <a:lnTo>
                    <a:pt x="65" y="108"/>
                  </a:lnTo>
                  <a:lnTo>
                    <a:pt x="77" y="105"/>
                  </a:lnTo>
                  <a:lnTo>
                    <a:pt x="87" y="100"/>
                  </a:lnTo>
                  <a:lnTo>
                    <a:pt x="87" y="114"/>
                  </a:lnTo>
                  <a:lnTo>
                    <a:pt x="70" y="120"/>
                  </a:lnTo>
                  <a:lnTo>
                    <a:pt x="52" y="121"/>
                  </a:lnTo>
                  <a:lnTo>
                    <a:pt x="35" y="120"/>
                  </a:lnTo>
                  <a:lnTo>
                    <a:pt x="21" y="113"/>
                  </a:lnTo>
                  <a:lnTo>
                    <a:pt x="12" y="104"/>
                  </a:lnTo>
                  <a:lnTo>
                    <a:pt x="5" y="92"/>
                  </a:lnTo>
                  <a:lnTo>
                    <a:pt x="1" y="77"/>
                  </a:lnTo>
                  <a:lnTo>
                    <a:pt x="0" y="61"/>
                  </a:lnTo>
                  <a:lnTo>
                    <a:pt x="2" y="41"/>
                  </a:lnTo>
                  <a:lnTo>
                    <a:pt x="9" y="24"/>
                  </a:lnTo>
                  <a:lnTo>
                    <a:pt x="19" y="11"/>
                  </a:lnTo>
                  <a:lnTo>
                    <a:pt x="32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27"/>
            <p:cNvSpPr>
              <a:spLocks/>
            </p:cNvSpPr>
            <p:nvPr userDrawn="1"/>
          </p:nvSpPr>
          <p:spPr bwMode="auto">
            <a:xfrm>
              <a:off x="7446963" y="527051"/>
              <a:ext cx="49212" cy="63500"/>
            </a:xfrm>
            <a:custGeom>
              <a:avLst/>
              <a:gdLst>
                <a:gd name="T0" fmla="*/ 52 w 92"/>
                <a:gd name="T1" fmla="*/ 0 h 119"/>
                <a:gd name="T2" fmla="*/ 65 w 92"/>
                <a:gd name="T3" fmla="*/ 1 h 119"/>
                <a:gd name="T4" fmla="*/ 75 w 92"/>
                <a:gd name="T5" fmla="*/ 5 h 119"/>
                <a:gd name="T6" fmla="*/ 82 w 92"/>
                <a:gd name="T7" fmla="*/ 13 h 119"/>
                <a:gd name="T8" fmla="*/ 87 w 92"/>
                <a:gd name="T9" fmla="*/ 21 h 119"/>
                <a:gd name="T10" fmla="*/ 91 w 92"/>
                <a:gd name="T11" fmla="*/ 32 h 119"/>
                <a:gd name="T12" fmla="*/ 92 w 92"/>
                <a:gd name="T13" fmla="*/ 45 h 119"/>
                <a:gd name="T14" fmla="*/ 92 w 92"/>
                <a:gd name="T15" fmla="*/ 119 h 119"/>
                <a:gd name="T16" fmla="*/ 77 w 92"/>
                <a:gd name="T17" fmla="*/ 119 h 119"/>
                <a:gd name="T18" fmla="*/ 77 w 92"/>
                <a:gd name="T19" fmla="*/ 48 h 119"/>
                <a:gd name="T20" fmla="*/ 77 w 92"/>
                <a:gd name="T21" fmla="*/ 36 h 119"/>
                <a:gd name="T22" fmla="*/ 74 w 92"/>
                <a:gd name="T23" fmla="*/ 26 h 119"/>
                <a:gd name="T24" fmla="*/ 68 w 92"/>
                <a:gd name="T25" fmla="*/ 18 h 119"/>
                <a:gd name="T26" fmla="*/ 61 w 92"/>
                <a:gd name="T27" fmla="*/ 14 h 119"/>
                <a:gd name="T28" fmla="*/ 50 w 92"/>
                <a:gd name="T29" fmla="*/ 12 h 119"/>
                <a:gd name="T30" fmla="*/ 38 w 92"/>
                <a:gd name="T31" fmla="*/ 14 h 119"/>
                <a:gd name="T32" fmla="*/ 30 w 92"/>
                <a:gd name="T33" fmla="*/ 19 h 119"/>
                <a:gd name="T34" fmla="*/ 23 w 92"/>
                <a:gd name="T35" fmla="*/ 26 h 119"/>
                <a:gd name="T36" fmla="*/ 19 w 92"/>
                <a:gd name="T37" fmla="*/ 35 h 119"/>
                <a:gd name="T38" fmla="*/ 16 w 92"/>
                <a:gd name="T39" fmla="*/ 45 h 119"/>
                <a:gd name="T40" fmla="*/ 16 w 92"/>
                <a:gd name="T41" fmla="*/ 55 h 119"/>
                <a:gd name="T42" fmla="*/ 16 w 92"/>
                <a:gd name="T43" fmla="*/ 119 h 119"/>
                <a:gd name="T44" fmla="*/ 1 w 92"/>
                <a:gd name="T45" fmla="*/ 119 h 119"/>
                <a:gd name="T46" fmla="*/ 1 w 92"/>
                <a:gd name="T47" fmla="*/ 30 h 119"/>
                <a:gd name="T48" fmla="*/ 0 w 92"/>
                <a:gd name="T49" fmla="*/ 2 h 119"/>
                <a:gd name="T50" fmla="*/ 14 w 92"/>
                <a:gd name="T51" fmla="*/ 2 h 119"/>
                <a:gd name="T52" fmla="*/ 14 w 92"/>
                <a:gd name="T53" fmla="*/ 24 h 119"/>
                <a:gd name="T54" fmla="*/ 15 w 92"/>
                <a:gd name="T55" fmla="*/ 24 h 119"/>
                <a:gd name="T56" fmla="*/ 18 w 92"/>
                <a:gd name="T57" fmla="*/ 17 h 119"/>
                <a:gd name="T58" fmla="*/ 23 w 92"/>
                <a:gd name="T59" fmla="*/ 11 h 119"/>
                <a:gd name="T60" fmla="*/ 30 w 92"/>
                <a:gd name="T61" fmla="*/ 5 h 119"/>
                <a:gd name="T62" fmla="*/ 39 w 92"/>
                <a:gd name="T63" fmla="*/ 1 h 119"/>
                <a:gd name="T64" fmla="*/ 52 w 92"/>
                <a:gd name="T6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2" h="119">
                  <a:moveTo>
                    <a:pt x="52" y="0"/>
                  </a:moveTo>
                  <a:lnTo>
                    <a:pt x="65" y="1"/>
                  </a:lnTo>
                  <a:lnTo>
                    <a:pt x="75" y="5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1" y="32"/>
                  </a:lnTo>
                  <a:lnTo>
                    <a:pt x="92" y="45"/>
                  </a:lnTo>
                  <a:lnTo>
                    <a:pt x="92" y="119"/>
                  </a:lnTo>
                  <a:lnTo>
                    <a:pt x="77" y="119"/>
                  </a:lnTo>
                  <a:lnTo>
                    <a:pt x="77" y="48"/>
                  </a:lnTo>
                  <a:lnTo>
                    <a:pt x="77" y="36"/>
                  </a:lnTo>
                  <a:lnTo>
                    <a:pt x="74" y="26"/>
                  </a:lnTo>
                  <a:lnTo>
                    <a:pt x="68" y="18"/>
                  </a:lnTo>
                  <a:lnTo>
                    <a:pt x="61" y="14"/>
                  </a:lnTo>
                  <a:lnTo>
                    <a:pt x="50" y="12"/>
                  </a:lnTo>
                  <a:lnTo>
                    <a:pt x="38" y="14"/>
                  </a:lnTo>
                  <a:lnTo>
                    <a:pt x="30" y="19"/>
                  </a:lnTo>
                  <a:lnTo>
                    <a:pt x="23" y="26"/>
                  </a:lnTo>
                  <a:lnTo>
                    <a:pt x="19" y="35"/>
                  </a:lnTo>
                  <a:lnTo>
                    <a:pt x="16" y="45"/>
                  </a:lnTo>
                  <a:lnTo>
                    <a:pt x="16" y="55"/>
                  </a:lnTo>
                  <a:lnTo>
                    <a:pt x="16" y="119"/>
                  </a:lnTo>
                  <a:lnTo>
                    <a:pt x="1" y="119"/>
                  </a:lnTo>
                  <a:lnTo>
                    <a:pt x="1" y="30"/>
                  </a:lnTo>
                  <a:lnTo>
                    <a:pt x="0" y="2"/>
                  </a:lnTo>
                  <a:lnTo>
                    <a:pt x="14" y="2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8" y="17"/>
                  </a:lnTo>
                  <a:lnTo>
                    <a:pt x="23" y="11"/>
                  </a:lnTo>
                  <a:lnTo>
                    <a:pt x="30" y="5"/>
                  </a:lnTo>
                  <a:lnTo>
                    <a:pt x="39" y="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24546346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′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9"/>
  <p:tag name="ARTICULATE_SLIDE_COUNT" val="18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9jLELdqUaZLlbxuT69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9jLELdqUaZLlbxuT69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9jLELdqUaZLlbxuT69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9jLELdqUaZLlbxuT69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WM_Folienmaster">
  <a:themeElements>
    <a:clrScheme name="SWM_colors">
      <a:dk1>
        <a:sysClr val="windowText" lastClr="000000"/>
      </a:dk1>
      <a:lt1>
        <a:sysClr val="window" lastClr="FFFFFF"/>
      </a:lt1>
      <a:dk2>
        <a:srgbClr val="1C5394"/>
      </a:dk2>
      <a:lt2>
        <a:srgbClr val="E0E5E8"/>
      </a:lt2>
      <a:accent1>
        <a:srgbClr val="1C5394"/>
      </a:accent1>
      <a:accent2>
        <a:srgbClr val="75AD40"/>
      </a:accent2>
      <a:accent3>
        <a:srgbClr val="009EE0"/>
      </a:accent3>
      <a:accent4>
        <a:srgbClr val="981A32"/>
      </a:accent4>
      <a:accent5>
        <a:srgbClr val="FABA00"/>
      </a:accent5>
      <a:accent6>
        <a:srgbClr val="EB6909"/>
      </a:accent6>
      <a:hlink>
        <a:srgbClr val="005096"/>
      </a:hlink>
      <a:folHlink>
        <a:srgbClr val="55AA28"/>
      </a:folHlink>
    </a:clrScheme>
    <a:fontScheme name="SWM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WM_Folienmaster</Template>
  <TotalTime>0</TotalTime>
  <Words>128</Words>
  <Application>Microsoft Office PowerPoint</Application>
  <PresentationFormat>Bildschirmpräsentation (4:3)</PresentationFormat>
  <Paragraphs>57</Paragraphs>
  <Slides>7</Slides>
  <Notes>6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9" baseType="lpstr">
      <vt:lpstr>SWM_Folienmaster</vt:lpstr>
      <vt:lpstr>think-cell Folie</vt:lpstr>
      <vt:lpstr>Projektpräsentation  M-Wetter</vt:lpstr>
      <vt:lpstr>Inhaltsübersicht</vt:lpstr>
      <vt:lpstr>Anforderungen des Kunden</vt:lpstr>
      <vt:lpstr>Architektur</vt:lpstr>
      <vt:lpstr>Verwendete Technologien</vt:lpstr>
      <vt:lpstr>Live Vorführung</vt:lpstr>
      <vt:lpstr>Vielen Dank für Ihre Aufmerksamkeit.</vt:lpstr>
    </vt:vector>
  </TitlesOfParts>
  <Company>Stadtwerke München Gmb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seite ohne Bild Hervorhebung Aussage</dc:title>
  <dc:creator>Gilnhammer.Tobias P-PE-AB-SF</dc:creator>
  <cp:lastModifiedBy>Gilnhammer.Tobias P-PE-AB-SF</cp:lastModifiedBy>
  <cp:revision>13</cp:revision>
  <cp:lastPrinted>2014-04-29T11:10:01Z</cp:lastPrinted>
  <dcterms:created xsi:type="dcterms:W3CDTF">2017-07-13T08:36:42Z</dcterms:created>
  <dcterms:modified xsi:type="dcterms:W3CDTF">2017-07-13T12:3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0C295FE-EF88-4CF6-9DC1-7AFFED472C54</vt:lpwstr>
  </property>
  <property fmtid="{D5CDD505-2E9C-101B-9397-08002B2CF9AE}" pid="3" name="ArticulatePath">
    <vt:lpwstr>140404_SWM_PPT-Master_mit Inhalt_1</vt:lpwstr>
  </property>
</Properties>
</file>